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7.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2.xml" ContentType="application/vnd.openxmlformats-officedocument.presentationml.tags+xml"/>
  <Override PartName="/ppt/notesSlides/notesSlide2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2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44.xml" ContentType="application/vnd.openxmlformats-officedocument.presentationml.tags+xml"/>
  <Override PartName="/ppt/notesSlides/notesSlide3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5.xml" ContentType="application/vnd.openxmlformats-officedocument.presentationml.tags+xml"/>
  <Override PartName="/ppt/notesSlides/notesSlide3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46.xml" ContentType="application/vnd.openxmlformats-officedocument.presentationml.tags+xml"/>
  <Override PartName="/ppt/notesSlides/notesSlide32.xml" ContentType="application/vnd.openxmlformats-officedocument.presentationml.notesSlide+xml"/>
  <Override PartName="/ppt/tags/tag4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48.xml" ContentType="application/vnd.openxmlformats-officedocument.presentationml.tags+xml"/>
  <Override PartName="/ppt/notesSlides/notesSlide3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4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notesSlides/notesSlide41.xml" ContentType="application/vnd.openxmlformats-officedocument.presentationml.notesSlide+xml"/>
  <Override PartName="/ppt/tags/tag56.xml" ContentType="application/vnd.openxmlformats-officedocument.presentationml.tags+xml"/>
  <Override PartName="/ppt/notesSlides/notesSlide4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0"/>
  </p:notesMasterIdLst>
  <p:handoutMasterIdLst>
    <p:handoutMasterId r:id="rId51"/>
  </p:handoutMasterIdLst>
  <p:sldIdLst>
    <p:sldId id="256" r:id="rId5"/>
    <p:sldId id="257" r:id="rId6"/>
    <p:sldId id="258" r:id="rId7"/>
    <p:sldId id="265" r:id="rId8"/>
    <p:sldId id="295" r:id="rId9"/>
    <p:sldId id="291" r:id="rId10"/>
    <p:sldId id="275" r:id="rId11"/>
    <p:sldId id="358" r:id="rId12"/>
    <p:sldId id="290" r:id="rId13"/>
    <p:sldId id="309" r:id="rId14"/>
    <p:sldId id="277" r:id="rId15"/>
    <p:sldId id="278" r:id="rId16"/>
    <p:sldId id="279" r:id="rId17"/>
    <p:sldId id="312" r:id="rId18"/>
    <p:sldId id="282" r:id="rId19"/>
    <p:sldId id="350" r:id="rId20"/>
    <p:sldId id="283" r:id="rId21"/>
    <p:sldId id="346" r:id="rId22"/>
    <p:sldId id="297" r:id="rId23"/>
    <p:sldId id="273" r:id="rId25"/>
    <p:sldId id="338" r:id="rId26"/>
    <p:sldId id="299" r:id="rId27"/>
    <p:sldId id="305" r:id="rId28"/>
    <p:sldId id="308" r:id="rId29"/>
    <p:sldId id="306" r:id="rId30"/>
    <p:sldId id="331" r:id="rId31"/>
    <p:sldId id="310" r:id="rId32"/>
    <p:sldId id="339" r:id="rId33"/>
    <p:sldId id="357" r:id="rId34"/>
    <p:sldId id="302" r:id="rId35"/>
    <p:sldId id="304" r:id="rId36"/>
    <p:sldId id="313" r:id="rId37"/>
    <p:sldId id="284" r:id="rId38"/>
    <p:sldId id="315" r:id="rId39"/>
    <p:sldId id="349" r:id="rId40"/>
    <p:sldId id="301" r:id="rId41"/>
    <p:sldId id="356" r:id="rId42"/>
    <p:sldId id="351" r:id="rId43"/>
    <p:sldId id="359" r:id="rId44"/>
    <p:sldId id="348" r:id="rId45"/>
    <p:sldId id="355" r:id="rId46"/>
    <p:sldId id="293" r:id="rId47"/>
    <p:sldId id="288" r:id="rId49"/>
  </p:sldIdLst>
  <p:sldSz cx="12192000" cy="6858000"/>
  <p:notesSz cx="6858000" cy="1104900"/>
  <p:custDataLst>
    <p:tags r:id="rId52"/>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5E650778-C8AC-4573-A306-08A0C1B81EE5}">
          <p14:sldIdLst>
            <p14:sldId id="256"/>
            <p14:sldId id="257"/>
          </p14:sldIdLst>
        </p14:section>
        <p14:section name="Introduction" id="{4A87D3EC-2E8C-4697-81FA-94A6B89DA86C}">
          <p14:sldIdLst>
            <p14:sldId id="258"/>
            <p14:sldId id="265"/>
            <p14:sldId id="295"/>
            <p14:sldId id="291"/>
            <p14:sldId id="275"/>
          </p14:sldIdLst>
        </p14:section>
        <p14:section name="Getting started" id="{DCF45CFF-13CF-42AB-88DA-7124EF1F6006}">
          <p14:sldIdLst>
            <p14:sldId id="358"/>
            <p14:sldId id="290"/>
            <p14:sldId id="309"/>
            <p14:sldId id="277"/>
            <p14:sldId id="278"/>
            <p14:sldId id="279"/>
            <p14:sldId id="312"/>
            <p14:sldId id="282"/>
          </p14:sldIdLst>
        </p14:section>
        <p14:section name="History" id="{6F594C08-C1D9-4326-BF0F-2B755A359D23}">
          <p14:sldIdLst>
            <p14:sldId id="350"/>
            <p14:sldId id="283"/>
            <p14:sldId id="346"/>
            <p14:sldId id="297"/>
            <p14:sldId id="360"/>
          </p14:sldIdLst>
        </p14:section>
        <p14:section name="Remote Repo" id="{B38F6CBC-F0BE-4106-9C78-694E35010F2A}">
          <p14:sldIdLst>
            <p14:sldId id="273"/>
            <p14:sldId id="338"/>
            <p14:sldId id="299"/>
            <p14:sldId id="305"/>
            <p14:sldId id="308"/>
            <p14:sldId id="306"/>
          </p14:sldIdLst>
        </p14:section>
        <p14:section name="Logging into a Git repository" id="{8DDB8A01-265F-413F-AD41-37B1A6C6853C}">
          <p14:sldIdLst>
            <p14:sldId id="331"/>
            <p14:sldId id="310"/>
            <p14:sldId id="339"/>
          </p14:sldIdLst>
        </p14:section>
        <p14:section name="Branching" id="{625224A6-EB10-4ACF-A1F6-9BC679063912}">
          <p14:sldIdLst>
            <p14:sldId id="357"/>
            <p14:sldId id="302"/>
            <p14:sldId id="304"/>
            <p14:sldId id="313"/>
            <p14:sldId id="284"/>
            <p14:sldId id="315"/>
            <p14:sldId id="349"/>
            <p14:sldId id="301"/>
          </p14:sldIdLst>
        </p14:section>
        <p14:section name="VSCode section" id="{8FAABF00-87C0-4976-88BB-9E5B62F81F7D}">
          <p14:sldIdLst>
            <p14:sldId id="356"/>
            <p14:sldId id="351"/>
            <p14:sldId id="359"/>
            <p14:sldId id="348"/>
            <p14:sldId id="355"/>
          </p14:sldIdLst>
        </p14:section>
        <p14:section name="LAB: Git" id="{86357456-0A99-49FD-82C7-32A36B1F7EA1}">
          <p14:sldIdLst>
            <p14:sldId id="293"/>
            <p14:sldId id="361"/>
            <p14:sldId id="2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9C54B51B-B11F-3A38-BE84-966141B38A11}" name="Daniele De Angelis" initials="DA" userId="S::dadea@microsoft.com::923242f7-b5ee-4cfe-bd76-24f60a508424" providerId="AD"/>
  <p188:author id="{2EFD172E-C533-0181-99D3-961D485BFB69}" name="Monica Lueder" initials="ML" userId="S-1-5-21-2127521184-1604012920-1887927527-2598260" providerId="AD"/>
  <p188:author id="{DEBB8F46-56C5-6132-2042-26086761F3BD}" name="Kory Thacher" initials="KT" userId="S::korythac@microsoft.com::995eb0f2-f21c-467c-a947-4f8fc26d0f2e" providerId="AD"/>
  <p188:author id="{65BD7E4F-8142-13A4-5C07-CEF6D3C8332B}" name="Kory Thacher" initials="KT" userId="Kory Thacher" providerId="None"/>
  <p188:author id="{B3D18764-E50E-DF36-9CE8-061B19BE6AF6}" name="Mary Feil-Jacobs" initials="MFJ" userId="Anonymous_Mary Feil-Jacobs" providerId="None"/>
  <p188:author id="{5713B1A0-5F91-B529-7EE0-8C05B7055D6C}" name="Mark Short" initials="MS" userId="S-1-5-21-2127521184-1604012920-1887927527-228755" providerId="AD"/>
  <p188:author id="{421F51AE-DF83-0F00-9A60-42B3F6195F8B}" name="Ted Sdoukos" initials="TS" userId="Ted Sdoukos" providerId="None"/>
  <p188:author id="{EFA001BD-6AC6-2322-D8A5-A7C0E75B8FAB}" name="Kory Thacher (APPS / POWERSHELL)" initials="KT(/P" userId="Kory Thacher (APPS / POWERSHELL)" providerId="None"/>
  <p188:author id="{D2F398DB-F53E-861C-B677-A4C4B371B7F8}" name="Mike O'Neill" initials="MO" userId="S::mconeill@microsoft.com::4db8c7d5-0316-4c76-8011-b0536973c37b" providerId="AD"/>
  <p188:author id="{0D3428EF-EBBF-0D99-A3B9-5DDB4A16D187}" name="Tony Radkiewicz" initials="TR" userId="S::anradkie@microsoft.com::9832534a-7e4f-4058-9c41-7f4a5b855c95" providerId="AD"/>
  <p188:author id="{903D06F5-1E01-5A4A-2E05-DDFB59BD23BB}" name="Mary Feil-Jacobs" initials="MF" userId="S-1-5-21-2127521184-1604012920-1887927527-6500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005C"/>
    <a:srgbClr val="0078D7"/>
    <a:srgbClr val="525252"/>
    <a:srgbClr val="969696"/>
    <a:srgbClr val="D7D7D7"/>
    <a:srgbClr val="E3008C"/>
    <a:srgbClr val="603C88"/>
    <a:srgbClr val="32145A"/>
    <a:srgbClr val="B4A0F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72" y="13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slide" Target="slides/slide38.xml" Id="rId42" /><Relationship Type="http://schemas.openxmlformats.org/officeDocument/2006/relationships/slide" Target="slides/slide43.xml" Id="rId47" /><Relationship Type="http://schemas.openxmlformats.org/officeDocument/2006/relationships/notesMaster" Target="notesMasters/notesMaster1.xml" Id="rId50" /><Relationship Type="http://schemas.openxmlformats.org/officeDocument/2006/relationships/viewProps" Target="viewProps.xml" Id="rId55" /><Relationship Type="http://schemas.openxmlformats.org/officeDocument/2006/relationships/slide" Target="slides/slide3.xml" Id="rId7"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8.xml" Id="rId32" /><Relationship Type="http://schemas.openxmlformats.org/officeDocument/2006/relationships/slide" Target="slides/slide33.xml" Id="rId37" /><Relationship Type="http://schemas.openxmlformats.org/officeDocument/2006/relationships/slide" Target="slides/slide36.xml" Id="rId40" /><Relationship Type="http://schemas.openxmlformats.org/officeDocument/2006/relationships/slide" Target="slides/slide41.xml" Id="rId45" /><Relationship Type="http://schemas.openxmlformats.org/officeDocument/2006/relationships/commentAuthors" Target="commentAuthors.xml" Id="rId53" /><Relationship Type="http://schemas.microsoft.com/office/2016/11/relationships/changesInfo" Target="changesInfos/changesInfo1.xml" Id="rId58" /><Relationship Type="http://schemas.openxmlformats.org/officeDocument/2006/relationships/slide" Target="slides/slide1.xml" Id="rId5" /><Relationship Type="http://schemas.openxmlformats.org/officeDocument/2006/relationships/slide" Target="slides/slide15.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slide" Target="slides/slide39.xml" Id="rId43" /><Relationship Type="http://schemas.openxmlformats.org/officeDocument/2006/relationships/theme" Target="theme/theme1.xml" Id="rId56" /><Relationship Type="http://schemas.openxmlformats.org/officeDocument/2006/relationships/slide" Target="slides/slide4.xml" Id="rId8" /><Relationship Type="http://schemas.openxmlformats.org/officeDocument/2006/relationships/handoutMaster" Target="handoutMasters/handoutMaster1.xml" Id="rId51"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slide" Target="slides/slide42.xml" Id="rId46" /><Relationship Type="http://schemas.microsoft.com/office/2018/10/relationships/authors" Target="authors.xml" Id="rId59" /><Relationship Type="http://schemas.openxmlformats.org/officeDocument/2006/relationships/slide" Target="slides/slide16.xml" Id="rId20" /><Relationship Type="http://schemas.openxmlformats.org/officeDocument/2006/relationships/slide" Target="slides/slide37.xml" Id="rId41" /><Relationship Type="http://schemas.openxmlformats.org/officeDocument/2006/relationships/presProps" Target="presProps.xml" Id="rId54"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slide" Target="slides/slide45.xml" Id="rId49" /><Relationship Type="http://schemas.openxmlformats.org/officeDocument/2006/relationships/tableStyles" Target="tableStyles.xml" Id="rId57" /><Relationship Type="http://schemas.openxmlformats.org/officeDocument/2006/relationships/slide" Target="slides/slide6.xml" Id="rId10"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tags" Target="tags/tag1.xml" Id="rId52"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Radkiewicz" userId="9832534a-7e4f-4058-9c41-7f4a5b855c95" providerId="ADAL" clId="{5BBF5E3C-CEDA-425D-9F29-68881C304B7D}"/>
    <pc:docChg chg="custSel addSld delSld modSld sldOrd modSection">
      <pc:chgData name="Tony Radkiewicz" userId="9832534a-7e4f-4058-9c41-7f4a5b855c95" providerId="ADAL" clId="{5BBF5E3C-CEDA-425D-9F29-68881C304B7D}" dt="2021-09-30T22:52:14.926" v="331" actId="167"/>
      <pc:docMkLst>
        <pc:docMk/>
      </pc:docMkLst>
      <pc:sldChg chg="modSp mod">
        <pc:chgData name="Tony Radkiewicz" userId="9832534a-7e4f-4058-9c41-7f4a5b855c95" providerId="ADAL" clId="{5BBF5E3C-CEDA-425D-9F29-68881C304B7D}" dt="2021-09-30T17:59:14.653" v="3" actId="20577"/>
        <pc:sldMkLst>
          <pc:docMk/>
          <pc:sldMk cId="1118951384" sldId="275"/>
        </pc:sldMkLst>
        <pc:graphicFrameChg chg="modGraphic">
          <ac:chgData name="Tony Radkiewicz" userId="9832534a-7e4f-4058-9c41-7f4a5b855c95" providerId="ADAL" clId="{5BBF5E3C-CEDA-425D-9F29-68881C304B7D}" dt="2021-09-30T17:59:14.653" v="3" actId="20577"/>
          <ac:graphicFrameMkLst>
            <pc:docMk/>
            <pc:sldMk cId="1118951384" sldId="275"/>
            <ac:graphicFrameMk id="4" creationId="{F7E4D8ED-66CB-44F7-BA75-20A3D914683F}"/>
          </ac:graphicFrameMkLst>
        </pc:graphicFrameChg>
      </pc:sldChg>
      <pc:sldChg chg="modSp mod">
        <pc:chgData name="Tony Radkiewicz" userId="9832534a-7e4f-4058-9c41-7f4a5b855c95" providerId="ADAL" clId="{5BBF5E3C-CEDA-425D-9F29-68881C304B7D}" dt="2021-09-30T19:02:56.463" v="128" actId="20577"/>
        <pc:sldMkLst>
          <pc:docMk/>
          <pc:sldMk cId="3650975258" sldId="278"/>
        </pc:sldMkLst>
        <pc:spChg chg="mod">
          <ac:chgData name="Tony Radkiewicz" userId="9832534a-7e4f-4058-9c41-7f4a5b855c95" providerId="ADAL" clId="{5BBF5E3C-CEDA-425D-9F29-68881C304B7D}" dt="2021-09-30T19:02:56.463" v="128" actId="20577"/>
          <ac:spMkLst>
            <pc:docMk/>
            <pc:sldMk cId="3650975258" sldId="278"/>
            <ac:spMk id="6" creationId="{4CE014F1-9C61-4BCA-8A4D-508E5FD7E1B7}"/>
          </ac:spMkLst>
        </pc:spChg>
      </pc:sldChg>
      <pc:sldChg chg="modSp mod ord">
        <pc:chgData name="Tony Radkiewicz" userId="9832534a-7e4f-4058-9c41-7f4a5b855c95" providerId="ADAL" clId="{5BBF5E3C-CEDA-425D-9F29-68881C304B7D}" dt="2021-09-30T19:03:05.356" v="134" actId="20577"/>
        <pc:sldMkLst>
          <pc:docMk/>
          <pc:sldMk cId="4006278816" sldId="279"/>
        </pc:sldMkLst>
        <pc:spChg chg="mod">
          <ac:chgData name="Tony Radkiewicz" userId="9832534a-7e4f-4058-9c41-7f4a5b855c95" providerId="ADAL" clId="{5BBF5E3C-CEDA-425D-9F29-68881C304B7D}" dt="2021-09-30T19:03:05.356" v="134" actId="20577"/>
          <ac:spMkLst>
            <pc:docMk/>
            <pc:sldMk cId="4006278816" sldId="279"/>
            <ac:spMk id="6" creationId="{937FA04D-A9D1-47B3-93F6-1257D434A8A4}"/>
          </ac:spMkLst>
        </pc:spChg>
      </pc:sldChg>
      <pc:sldChg chg="modSp mod">
        <pc:chgData name="Tony Radkiewicz" userId="9832534a-7e4f-4058-9c41-7f4a5b855c95" providerId="ADAL" clId="{5BBF5E3C-CEDA-425D-9F29-68881C304B7D}" dt="2021-09-30T19:03:14.537" v="142" actId="20577"/>
        <pc:sldMkLst>
          <pc:docMk/>
          <pc:sldMk cId="3851443998" sldId="282"/>
        </pc:sldMkLst>
        <pc:spChg chg="mod">
          <ac:chgData name="Tony Radkiewicz" userId="9832534a-7e4f-4058-9c41-7f4a5b855c95" providerId="ADAL" clId="{5BBF5E3C-CEDA-425D-9F29-68881C304B7D}" dt="2021-09-30T19:03:10.758" v="138" actId="20577"/>
          <ac:spMkLst>
            <pc:docMk/>
            <pc:sldMk cId="3851443998" sldId="282"/>
            <ac:spMk id="8" creationId="{3253C3D2-7C15-4D4A-8F0F-FDDC531CA527}"/>
          </ac:spMkLst>
        </pc:spChg>
        <pc:spChg chg="mod">
          <ac:chgData name="Tony Radkiewicz" userId="9832534a-7e4f-4058-9c41-7f4a5b855c95" providerId="ADAL" clId="{5BBF5E3C-CEDA-425D-9F29-68881C304B7D}" dt="2021-09-30T19:03:14.537" v="142" actId="20577"/>
          <ac:spMkLst>
            <pc:docMk/>
            <pc:sldMk cId="3851443998" sldId="282"/>
            <ac:spMk id="9" creationId="{7EB53857-6044-4BD7-848D-EF885D48417B}"/>
          </ac:spMkLst>
        </pc:spChg>
      </pc:sldChg>
      <pc:sldChg chg="modSp mod">
        <pc:chgData name="Tony Radkiewicz" userId="9832534a-7e4f-4058-9c41-7f4a5b855c95" providerId="ADAL" clId="{5BBF5E3C-CEDA-425D-9F29-68881C304B7D}" dt="2021-09-30T19:03:24.372" v="150" actId="20577"/>
        <pc:sldMkLst>
          <pc:docMk/>
          <pc:sldMk cId="2132298953" sldId="283"/>
        </pc:sldMkLst>
        <pc:spChg chg="mod">
          <ac:chgData name="Tony Radkiewicz" userId="9832534a-7e4f-4058-9c41-7f4a5b855c95" providerId="ADAL" clId="{5BBF5E3C-CEDA-425D-9F29-68881C304B7D}" dt="2021-09-30T19:03:24.372" v="150" actId="20577"/>
          <ac:spMkLst>
            <pc:docMk/>
            <pc:sldMk cId="2132298953" sldId="283"/>
            <ac:spMk id="6" creationId="{57F21D56-4AF5-4BA9-830A-68C97D8DA718}"/>
          </ac:spMkLst>
        </pc:spChg>
      </pc:sldChg>
      <pc:sldChg chg="modSp mod">
        <pc:chgData name="Tony Radkiewicz" userId="9832534a-7e4f-4058-9c41-7f4a5b855c95" providerId="ADAL" clId="{5BBF5E3C-CEDA-425D-9F29-68881C304B7D}" dt="2021-09-30T19:06:12.067" v="154" actId="14100"/>
        <pc:sldMkLst>
          <pc:docMk/>
          <pc:sldMk cId="313771798" sldId="284"/>
        </pc:sldMkLst>
        <pc:cxnChg chg="mod">
          <ac:chgData name="Tony Radkiewicz" userId="9832534a-7e4f-4058-9c41-7f4a5b855c95" providerId="ADAL" clId="{5BBF5E3C-CEDA-425D-9F29-68881C304B7D}" dt="2021-09-30T19:06:12.067" v="154" actId="14100"/>
          <ac:cxnSpMkLst>
            <pc:docMk/>
            <pc:sldMk cId="313771798" sldId="284"/>
            <ac:cxnSpMk id="20" creationId="{02B0658F-7DFC-4C8F-BAE0-5D0950828929}"/>
          </ac:cxnSpMkLst>
        </pc:cxnChg>
      </pc:sldChg>
      <pc:sldChg chg="addSp delSp modSp mod">
        <pc:chgData name="Tony Radkiewicz" userId="9832534a-7e4f-4058-9c41-7f4a5b855c95" providerId="ADAL" clId="{5BBF5E3C-CEDA-425D-9F29-68881C304B7D}" dt="2021-09-30T22:35:54.835" v="299" actId="478"/>
        <pc:sldMkLst>
          <pc:docMk/>
          <pc:sldMk cId="3498628492" sldId="293"/>
        </pc:sldMkLst>
        <pc:spChg chg="add del mod">
          <ac:chgData name="Tony Radkiewicz" userId="9832534a-7e4f-4058-9c41-7f4a5b855c95" providerId="ADAL" clId="{5BBF5E3C-CEDA-425D-9F29-68881C304B7D}" dt="2021-09-30T22:35:54.835" v="299" actId="478"/>
          <ac:spMkLst>
            <pc:docMk/>
            <pc:sldMk cId="3498628492" sldId="293"/>
            <ac:spMk id="4" creationId="{23062880-A3DA-4604-9773-521932D519F3}"/>
          </ac:spMkLst>
        </pc:spChg>
        <pc:spChg chg="del">
          <ac:chgData name="Tony Radkiewicz" userId="9832534a-7e4f-4058-9c41-7f4a5b855c95" providerId="ADAL" clId="{5BBF5E3C-CEDA-425D-9F29-68881C304B7D}" dt="2021-09-30T22:35:52.306" v="298" actId="478"/>
          <ac:spMkLst>
            <pc:docMk/>
            <pc:sldMk cId="3498628492" sldId="293"/>
            <ac:spMk id="9" creationId="{8A5A0421-2A84-4A4A-868E-9AF5B6DC72EB}"/>
          </ac:spMkLst>
        </pc:spChg>
      </pc:sldChg>
      <pc:sldChg chg="modSp">
        <pc:chgData name="Tony Radkiewicz" userId="9832534a-7e4f-4058-9c41-7f4a5b855c95" providerId="ADAL" clId="{5BBF5E3C-CEDA-425D-9F29-68881C304B7D}" dt="2021-09-30T19:00:51.023" v="124" actId="313"/>
        <pc:sldMkLst>
          <pc:docMk/>
          <pc:sldMk cId="2045087060" sldId="302"/>
        </pc:sldMkLst>
        <pc:graphicFrameChg chg="mod">
          <ac:chgData name="Tony Radkiewicz" userId="9832534a-7e4f-4058-9c41-7f4a5b855c95" providerId="ADAL" clId="{5BBF5E3C-CEDA-425D-9F29-68881C304B7D}" dt="2021-09-30T19:00:51.023" v="124" actId="313"/>
          <ac:graphicFrameMkLst>
            <pc:docMk/>
            <pc:sldMk cId="2045087060" sldId="302"/>
            <ac:graphicFrameMk id="9" creationId="{4E15B5D6-0673-4365-B6C9-E2855129C6C1}"/>
          </ac:graphicFrameMkLst>
        </pc:graphicFrameChg>
      </pc:sldChg>
      <pc:sldChg chg="modSp mod">
        <pc:chgData name="Tony Radkiewicz" userId="9832534a-7e4f-4058-9c41-7f4a5b855c95" providerId="ADAL" clId="{5BBF5E3C-CEDA-425D-9F29-68881C304B7D}" dt="2021-09-30T18:50:13.791" v="102" actId="20577"/>
        <pc:sldMkLst>
          <pc:docMk/>
          <pc:sldMk cId="602721421" sldId="310"/>
        </pc:sldMkLst>
        <pc:spChg chg="mod">
          <ac:chgData name="Tony Radkiewicz" userId="9832534a-7e4f-4058-9c41-7f4a5b855c95" providerId="ADAL" clId="{5BBF5E3C-CEDA-425D-9F29-68881C304B7D}" dt="2021-09-30T18:50:13.791" v="102" actId="20577"/>
          <ac:spMkLst>
            <pc:docMk/>
            <pc:sldMk cId="602721421" sldId="310"/>
            <ac:spMk id="5" creationId="{5CAFC0E4-6FC2-4528-8082-DCEFFB4A54DF}"/>
          </ac:spMkLst>
        </pc:spChg>
      </pc:sldChg>
      <pc:sldChg chg="modAnim">
        <pc:chgData name="Tony Radkiewicz" userId="9832534a-7e4f-4058-9c41-7f4a5b855c95" providerId="ADAL" clId="{5BBF5E3C-CEDA-425D-9F29-68881C304B7D}" dt="2021-09-30T19:07:35.318" v="155"/>
        <pc:sldMkLst>
          <pc:docMk/>
          <pc:sldMk cId="3280043200" sldId="315"/>
        </pc:sldMkLst>
      </pc:sldChg>
      <pc:sldChg chg="addSp delSp modSp del mod">
        <pc:chgData name="Tony Radkiewicz" userId="9832534a-7e4f-4058-9c41-7f4a5b855c95" providerId="ADAL" clId="{5BBF5E3C-CEDA-425D-9F29-68881C304B7D}" dt="2021-09-30T18:32:19.699" v="59" actId="47"/>
        <pc:sldMkLst>
          <pc:docMk/>
          <pc:sldMk cId="3433862484" sldId="317"/>
        </pc:sldMkLst>
        <pc:spChg chg="mod">
          <ac:chgData name="Tony Radkiewicz" userId="9832534a-7e4f-4058-9c41-7f4a5b855c95" providerId="ADAL" clId="{5BBF5E3C-CEDA-425D-9F29-68881C304B7D}" dt="2021-09-30T18:30:08.060" v="8" actId="33524"/>
          <ac:spMkLst>
            <pc:docMk/>
            <pc:sldMk cId="3433862484" sldId="317"/>
            <ac:spMk id="6" creationId="{E4DB7D80-C50F-4FCB-AD28-2FF2157DAD12}"/>
          </ac:spMkLst>
        </pc:spChg>
        <pc:spChg chg="del mod">
          <ac:chgData name="Tony Radkiewicz" userId="9832534a-7e4f-4058-9c41-7f4a5b855c95" providerId="ADAL" clId="{5BBF5E3C-CEDA-425D-9F29-68881C304B7D}" dt="2021-09-30T18:31:25.415" v="23" actId="12084"/>
          <ac:spMkLst>
            <pc:docMk/>
            <pc:sldMk cId="3433862484" sldId="317"/>
            <ac:spMk id="7" creationId="{58153E8D-8C6E-4166-B7E3-E9894841720F}"/>
          </ac:spMkLst>
        </pc:spChg>
        <pc:graphicFrameChg chg="add mod">
          <ac:chgData name="Tony Radkiewicz" userId="9832534a-7e4f-4058-9c41-7f4a5b855c95" providerId="ADAL" clId="{5BBF5E3C-CEDA-425D-9F29-68881C304B7D}" dt="2021-09-30T18:31:54.759" v="30" actId="14100"/>
          <ac:graphicFrameMkLst>
            <pc:docMk/>
            <pc:sldMk cId="3433862484" sldId="317"/>
            <ac:graphicFrameMk id="2" creationId="{0113A077-B1D6-46AC-8433-D36743C62016}"/>
          </ac:graphicFrameMkLst>
        </pc:graphicFrameChg>
        <pc:picChg chg="mod">
          <ac:chgData name="Tony Radkiewicz" userId="9832534a-7e4f-4058-9c41-7f4a5b855c95" providerId="ADAL" clId="{5BBF5E3C-CEDA-425D-9F29-68881C304B7D}" dt="2021-09-30T18:32:16.029" v="58" actId="14100"/>
          <ac:picMkLst>
            <pc:docMk/>
            <pc:sldMk cId="3433862484" sldId="317"/>
            <ac:picMk id="3" creationId="{0391CB51-AF84-4843-A40A-7EDA279A8272}"/>
          </ac:picMkLst>
        </pc:picChg>
      </pc:sldChg>
      <pc:sldChg chg="addSp modSp mod">
        <pc:chgData name="Tony Radkiewicz" userId="9832534a-7e4f-4058-9c41-7f4a5b855c95" providerId="ADAL" clId="{5BBF5E3C-CEDA-425D-9F29-68881C304B7D}" dt="2021-09-30T18:47:15.638" v="90" actId="1076"/>
        <pc:sldMkLst>
          <pc:docMk/>
          <pc:sldMk cId="3274736108" sldId="331"/>
        </pc:sldMkLst>
        <pc:spChg chg="mod">
          <ac:chgData name="Tony Radkiewicz" userId="9832534a-7e4f-4058-9c41-7f4a5b855c95" providerId="ADAL" clId="{5BBF5E3C-CEDA-425D-9F29-68881C304B7D}" dt="2021-09-30T18:36:41.837" v="61" actId="20577"/>
          <ac:spMkLst>
            <pc:docMk/>
            <pc:sldMk cId="3274736108" sldId="331"/>
            <ac:spMk id="2" creationId="{46273A3F-6B55-4976-8209-B5EC72D92492}"/>
          </ac:spMkLst>
        </pc:spChg>
        <pc:spChg chg="mod">
          <ac:chgData name="Tony Radkiewicz" userId="9832534a-7e4f-4058-9c41-7f4a5b855c95" providerId="ADAL" clId="{5BBF5E3C-CEDA-425D-9F29-68881C304B7D}" dt="2021-09-30T18:38:53.343" v="63" actId="6549"/>
          <ac:spMkLst>
            <pc:docMk/>
            <pc:sldMk cId="3274736108" sldId="331"/>
            <ac:spMk id="3" creationId="{F5284A0C-93F6-4740-AEC4-AC5C7F4C2DE7}"/>
          </ac:spMkLst>
        </pc:spChg>
        <pc:graphicFrameChg chg="mod">
          <ac:chgData name="Tony Radkiewicz" userId="9832534a-7e4f-4058-9c41-7f4a5b855c95" providerId="ADAL" clId="{5BBF5E3C-CEDA-425D-9F29-68881C304B7D}" dt="2021-09-30T18:47:15.638" v="90" actId="1076"/>
          <ac:graphicFrameMkLst>
            <pc:docMk/>
            <pc:sldMk cId="3274736108" sldId="331"/>
            <ac:graphicFrameMk id="11" creationId="{CB78EA1A-6BB5-47FC-B6E6-EA909822053E}"/>
          </ac:graphicFrameMkLst>
        </pc:graphicFrameChg>
        <pc:picChg chg="mod">
          <ac:chgData name="Tony Radkiewicz" userId="9832534a-7e4f-4058-9c41-7f4a5b855c95" providerId="ADAL" clId="{5BBF5E3C-CEDA-425D-9F29-68881C304B7D}" dt="2021-09-30T18:44:21.738" v="76" actId="14100"/>
          <ac:picMkLst>
            <pc:docMk/>
            <pc:sldMk cId="3274736108" sldId="331"/>
            <ac:picMk id="5" creationId="{5EF8C301-F75B-44C4-B62F-1BCB37D1F9C5}"/>
          </ac:picMkLst>
        </pc:picChg>
        <pc:picChg chg="add mod">
          <ac:chgData name="Tony Radkiewicz" userId="9832534a-7e4f-4058-9c41-7f4a5b855c95" providerId="ADAL" clId="{5BBF5E3C-CEDA-425D-9F29-68881C304B7D}" dt="2021-09-30T18:45:29.387" v="83" actId="1076"/>
          <ac:picMkLst>
            <pc:docMk/>
            <pc:sldMk cId="3274736108" sldId="331"/>
            <ac:picMk id="9" creationId="{257A76AD-E9CC-4D78-9682-AAE38A21DF56}"/>
          </ac:picMkLst>
        </pc:picChg>
      </pc:sldChg>
      <pc:sldChg chg="addCm modCm">
        <pc:chgData name="Tony Radkiewicz" userId="9832534a-7e4f-4058-9c41-7f4a5b855c95" providerId="ADAL" clId="{5BBF5E3C-CEDA-425D-9F29-68881C304B7D}" dt="2021-09-30T18:28:45.710" v="7"/>
        <pc:sldMkLst>
          <pc:docMk/>
          <pc:sldMk cId="647186436" sldId="338"/>
        </pc:sldMkLst>
      </pc:sldChg>
      <pc:sldChg chg="add">
        <pc:chgData name="Tony Radkiewicz" userId="9832534a-7e4f-4058-9c41-7f4a5b855c95" providerId="ADAL" clId="{5BBF5E3C-CEDA-425D-9F29-68881C304B7D}" dt="2021-09-30T18:30:32.514" v="11" actId="2890"/>
        <pc:sldMkLst>
          <pc:docMk/>
          <pc:sldMk cId="1073546468" sldId="339"/>
        </pc:sldMkLst>
      </pc:sldChg>
      <pc:sldChg chg="addSp delSp modSp add mod">
        <pc:chgData name="Tony Radkiewicz" userId="9832534a-7e4f-4058-9c41-7f4a5b855c95" providerId="ADAL" clId="{5BBF5E3C-CEDA-425D-9F29-68881C304B7D}" dt="2021-09-30T18:58:02.980" v="123" actId="313"/>
        <pc:sldMkLst>
          <pc:docMk/>
          <pc:sldMk cId="2727583874" sldId="339"/>
        </pc:sldMkLst>
        <pc:spChg chg="mod">
          <ac:chgData name="Tony Radkiewicz" userId="9832534a-7e4f-4058-9c41-7f4a5b855c95" providerId="ADAL" clId="{5BBF5E3C-CEDA-425D-9F29-68881C304B7D}" dt="2021-09-30T18:58:02.980" v="123" actId="313"/>
          <ac:spMkLst>
            <pc:docMk/>
            <pc:sldMk cId="2727583874" sldId="339"/>
            <ac:spMk id="2" creationId="{7991F465-24C2-4CD3-AC1A-A7AF0164D250}"/>
          </ac:spMkLst>
        </pc:spChg>
        <pc:spChg chg="mod">
          <ac:chgData name="Tony Radkiewicz" userId="9832534a-7e4f-4058-9c41-7f4a5b855c95" providerId="ADAL" clId="{5BBF5E3C-CEDA-425D-9F29-68881C304B7D}" dt="2021-09-30T18:56:02.636" v="122" actId="14100"/>
          <ac:spMkLst>
            <pc:docMk/>
            <pc:sldMk cId="2727583874" sldId="339"/>
            <ac:spMk id="8" creationId="{F00ADA4F-AE02-45FC-A78E-6DFEE650B447}"/>
          </ac:spMkLst>
        </pc:spChg>
        <pc:picChg chg="del">
          <ac:chgData name="Tony Radkiewicz" userId="9832534a-7e4f-4058-9c41-7f4a5b855c95" providerId="ADAL" clId="{5BBF5E3C-CEDA-425D-9F29-68881C304B7D}" dt="2021-09-30T18:54:14.754" v="104" actId="478"/>
          <ac:picMkLst>
            <pc:docMk/>
            <pc:sldMk cId="2727583874" sldId="339"/>
            <ac:picMk id="5" creationId="{36C69A30-E1E2-4464-BE7E-AA6959EDF65D}"/>
          </ac:picMkLst>
        </pc:picChg>
        <pc:picChg chg="add mod">
          <ac:chgData name="Tony Radkiewicz" userId="9832534a-7e4f-4058-9c41-7f4a5b855c95" providerId="ADAL" clId="{5BBF5E3C-CEDA-425D-9F29-68881C304B7D}" dt="2021-09-30T18:54:21.473" v="106" actId="14100"/>
          <ac:picMkLst>
            <pc:docMk/>
            <pc:sldMk cId="2727583874" sldId="339"/>
            <ac:picMk id="6" creationId="{0A489338-BA69-423E-A2A9-85E4EE658587}"/>
          </ac:picMkLst>
        </pc:picChg>
      </pc:sldChg>
      <pc:sldChg chg="modSp mod">
        <pc:chgData name="Tony Radkiewicz" userId="9832534a-7e4f-4058-9c41-7f4a5b855c95" providerId="ADAL" clId="{5BBF5E3C-CEDA-425D-9F29-68881C304B7D}" dt="2021-09-30T22:32:29.040" v="297" actId="20577"/>
        <pc:sldMkLst>
          <pc:docMk/>
          <pc:sldMk cId="176053803" sldId="349"/>
        </pc:sldMkLst>
        <pc:spChg chg="mod">
          <ac:chgData name="Tony Radkiewicz" userId="9832534a-7e4f-4058-9c41-7f4a5b855c95" providerId="ADAL" clId="{5BBF5E3C-CEDA-425D-9F29-68881C304B7D}" dt="2021-09-30T22:32:29.040" v="297" actId="20577"/>
          <ac:spMkLst>
            <pc:docMk/>
            <pc:sldMk cId="176053803" sldId="349"/>
            <ac:spMk id="8" creationId="{20E79CE1-9844-4144-936D-54638F032318}"/>
          </ac:spMkLst>
        </pc:spChg>
      </pc:sldChg>
      <pc:sldChg chg="modSp mod">
        <pc:chgData name="Tony Radkiewicz" userId="9832534a-7e4f-4058-9c41-7f4a5b855c95" providerId="ADAL" clId="{5BBF5E3C-CEDA-425D-9F29-68881C304B7D}" dt="2021-09-30T21:37:44.604" v="157" actId="20577"/>
        <pc:sldMkLst>
          <pc:docMk/>
          <pc:sldMk cId="2049075182" sldId="350"/>
        </pc:sldMkLst>
        <pc:graphicFrameChg chg="modGraphic">
          <ac:chgData name="Tony Radkiewicz" userId="9832534a-7e4f-4058-9c41-7f4a5b855c95" providerId="ADAL" clId="{5BBF5E3C-CEDA-425D-9F29-68881C304B7D}" dt="2021-09-30T21:37:44.604" v="157" actId="20577"/>
          <ac:graphicFrameMkLst>
            <pc:docMk/>
            <pc:sldMk cId="2049075182" sldId="350"/>
            <ac:graphicFrameMk id="2" creationId="{740EC26E-B7E1-4A1E-9E7A-EA3B17E49D3D}"/>
          </ac:graphicFrameMkLst>
        </pc:graphicFrameChg>
      </pc:sldChg>
      <pc:sldChg chg="addSp delSp modSp add mod">
        <pc:chgData name="Tony Radkiewicz" userId="9832534a-7e4f-4058-9c41-7f4a5b855c95" providerId="ADAL" clId="{5BBF5E3C-CEDA-425D-9F29-68881C304B7D}" dt="2021-09-30T22:05:28.350" v="265" actId="1076"/>
        <pc:sldMkLst>
          <pc:docMk/>
          <pc:sldMk cId="1475384191" sldId="354"/>
        </pc:sldMkLst>
        <pc:spChg chg="mod">
          <ac:chgData name="Tony Radkiewicz" userId="9832534a-7e4f-4058-9c41-7f4a5b855c95" providerId="ADAL" clId="{5BBF5E3C-CEDA-425D-9F29-68881C304B7D}" dt="2021-09-30T22:03:04.702" v="237" actId="1076"/>
          <ac:spMkLst>
            <pc:docMk/>
            <pc:sldMk cId="1475384191" sldId="354"/>
            <ac:spMk id="3" creationId="{10AD338B-071A-4899-A028-E812531CCDE9}"/>
          </ac:spMkLst>
        </pc:spChg>
        <pc:picChg chg="add del mod">
          <ac:chgData name="Tony Radkiewicz" userId="9832534a-7e4f-4058-9c41-7f4a5b855c95" providerId="ADAL" clId="{5BBF5E3C-CEDA-425D-9F29-68881C304B7D}" dt="2021-09-30T22:05:03.722" v="243" actId="478"/>
          <ac:picMkLst>
            <pc:docMk/>
            <pc:sldMk cId="1475384191" sldId="354"/>
            <ac:picMk id="5" creationId="{6773F7C9-76A9-4A1B-93AC-E3DD0DB9E7EA}"/>
          </ac:picMkLst>
        </pc:picChg>
        <pc:picChg chg="add del mod">
          <ac:chgData name="Tony Radkiewicz" userId="9832534a-7e4f-4058-9c41-7f4a5b855c95" providerId="ADAL" clId="{5BBF5E3C-CEDA-425D-9F29-68881C304B7D}" dt="2021-09-30T22:04:59.810" v="242" actId="478"/>
          <ac:picMkLst>
            <pc:docMk/>
            <pc:sldMk cId="1475384191" sldId="354"/>
            <ac:picMk id="7" creationId="{F67306EE-F104-4243-A906-E35FC305B38A}"/>
          </ac:picMkLst>
        </pc:picChg>
        <pc:picChg chg="add del mod">
          <ac:chgData name="Tony Radkiewicz" userId="9832534a-7e4f-4058-9c41-7f4a5b855c95" providerId="ADAL" clId="{5BBF5E3C-CEDA-425D-9F29-68881C304B7D}" dt="2021-09-30T22:04:50.903" v="238" actId="478"/>
          <ac:picMkLst>
            <pc:docMk/>
            <pc:sldMk cId="1475384191" sldId="354"/>
            <ac:picMk id="9" creationId="{1F8E719E-2FC4-443D-AA72-D59F36F2CD84}"/>
          </ac:picMkLst>
        </pc:picChg>
        <pc:picChg chg="add mod">
          <ac:chgData name="Tony Radkiewicz" userId="9832534a-7e4f-4058-9c41-7f4a5b855c95" providerId="ADAL" clId="{5BBF5E3C-CEDA-425D-9F29-68881C304B7D}" dt="2021-09-30T22:05:28.350" v="265" actId="1076"/>
          <ac:picMkLst>
            <pc:docMk/>
            <pc:sldMk cId="1475384191" sldId="354"/>
            <ac:picMk id="11" creationId="{8411FA6F-0FE6-48D9-9916-025A3C59C068}"/>
          </ac:picMkLst>
        </pc:picChg>
      </pc:sldChg>
      <pc:sldChg chg="addSp delSp modSp mod">
        <pc:chgData name="Tony Radkiewicz" userId="9832534a-7e4f-4058-9c41-7f4a5b855c95" providerId="ADAL" clId="{5BBF5E3C-CEDA-425D-9F29-68881C304B7D}" dt="2021-09-30T22:18:44.776" v="295" actId="14100"/>
        <pc:sldMkLst>
          <pc:docMk/>
          <pc:sldMk cId="3674094981" sldId="355"/>
        </pc:sldMkLst>
        <pc:picChg chg="del">
          <ac:chgData name="Tony Radkiewicz" userId="9832534a-7e4f-4058-9c41-7f4a5b855c95" providerId="ADAL" clId="{5BBF5E3C-CEDA-425D-9F29-68881C304B7D}" dt="2021-09-30T22:08:50.621" v="266" actId="478"/>
          <ac:picMkLst>
            <pc:docMk/>
            <pc:sldMk cId="3674094981" sldId="355"/>
            <ac:picMk id="5" creationId="{6773F7C9-76A9-4A1B-93AC-E3DD0DB9E7EA}"/>
          </ac:picMkLst>
        </pc:picChg>
        <pc:picChg chg="del">
          <ac:chgData name="Tony Radkiewicz" userId="9832534a-7e4f-4058-9c41-7f4a5b855c95" providerId="ADAL" clId="{5BBF5E3C-CEDA-425D-9F29-68881C304B7D}" dt="2021-09-30T22:09:01.581" v="271" actId="478"/>
          <ac:picMkLst>
            <pc:docMk/>
            <pc:sldMk cId="3674094981" sldId="355"/>
            <ac:picMk id="7" creationId="{F67306EE-F104-4243-A906-E35FC305B38A}"/>
          </ac:picMkLst>
        </pc:picChg>
        <pc:picChg chg="add mod">
          <ac:chgData name="Tony Radkiewicz" userId="9832534a-7e4f-4058-9c41-7f4a5b855c95" providerId="ADAL" clId="{5BBF5E3C-CEDA-425D-9F29-68881C304B7D}" dt="2021-09-30T22:09:20.895" v="278" actId="14100"/>
          <ac:picMkLst>
            <pc:docMk/>
            <pc:sldMk cId="3674094981" sldId="355"/>
            <ac:picMk id="8" creationId="{61B93F30-665D-430C-BD4B-0E274E50AF95}"/>
          </ac:picMkLst>
        </pc:picChg>
        <pc:picChg chg="del">
          <ac:chgData name="Tony Radkiewicz" userId="9832534a-7e4f-4058-9c41-7f4a5b855c95" providerId="ADAL" clId="{5BBF5E3C-CEDA-425D-9F29-68881C304B7D}" dt="2021-09-30T22:09:03.010" v="272" actId="478"/>
          <ac:picMkLst>
            <pc:docMk/>
            <pc:sldMk cId="3674094981" sldId="355"/>
            <ac:picMk id="9" creationId="{1F8E719E-2FC4-443D-AA72-D59F36F2CD84}"/>
          </ac:picMkLst>
        </pc:picChg>
        <pc:picChg chg="add del mod">
          <ac:chgData name="Tony Radkiewicz" userId="9832534a-7e4f-4058-9c41-7f4a5b855c95" providerId="ADAL" clId="{5BBF5E3C-CEDA-425D-9F29-68881C304B7D}" dt="2021-09-30T22:18:18.195" v="290" actId="478"/>
          <ac:picMkLst>
            <pc:docMk/>
            <pc:sldMk cId="3674094981" sldId="355"/>
            <ac:picMk id="11" creationId="{0435B227-E4FA-49A0-B757-7861D19CEDA2}"/>
          </ac:picMkLst>
        </pc:picChg>
        <pc:picChg chg="mod">
          <ac:chgData name="Tony Radkiewicz" userId="9832534a-7e4f-4058-9c41-7f4a5b855c95" providerId="ADAL" clId="{5BBF5E3C-CEDA-425D-9F29-68881C304B7D}" dt="2021-09-30T22:18:44.776" v="295" actId="14100"/>
          <ac:picMkLst>
            <pc:docMk/>
            <pc:sldMk cId="3674094981" sldId="355"/>
            <ac:picMk id="13" creationId="{0EE5D587-26AB-4956-BB4E-832441723306}"/>
          </ac:picMkLst>
        </pc:picChg>
        <pc:picChg chg="add del mod">
          <ac:chgData name="Tony Radkiewicz" userId="9832534a-7e4f-4058-9c41-7f4a5b855c95" providerId="ADAL" clId="{5BBF5E3C-CEDA-425D-9F29-68881C304B7D}" dt="2021-09-30T22:17:21.905" v="284" actId="478"/>
          <ac:picMkLst>
            <pc:docMk/>
            <pc:sldMk cId="3674094981" sldId="355"/>
            <ac:picMk id="14" creationId="{9E69F7BA-C8EF-4341-BFA5-A41DE562E9F4}"/>
          </ac:picMkLst>
        </pc:picChg>
        <pc:picChg chg="add mod">
          <ac:chgData name="Tony Radkiewicz" userId="9832534a-7e4f-4058-9c41-7f4a5b855c95" providerId="ADAL" clId="{5BBF5E3C-CEDA-425D-9F29-68881C304B7D}" dt="2021-09-30T22:18:35.820" v="292" actId="1076"/>
          <ac:picMkLst>
            <pc:docMk/>
            <pc:sldMk cId="3674094981" sldId="355"/>
            <ac:picMk id="16" creationId="{292C8D57-CA97-4391-96C3-3ED0121F84D7}"/>
          </ac:picMkLst>
        </pc:picChg>
      </pc:sldChg>
      <pc:sldChg chg="addSp delSp modSp add mod">
        <pc:chgData name="Tony Radkiewicz" userId="9832534a-7e4f-4058-9c41-7f4a5b855c95" providerId="ADAL" clId="{5BBF5E3C-CEDA-425D-9F29-68881C304B7D}" dt="2021-09-30T22:52:14.926" v="331" actId="167"/>
        <pc:sldMkLst>
          <pc:docMk/>
          <pc:sldMk cId="922459630" sldId="359"/>
        </pc:sldMkLst>
        <pc:picChg chg="add del mod">
          <ac:chgData name="Tony Radkiewicz" userId="9832534a-7e4f-4058-9c41-7f4a5b855c95" providerId="ADAL" clId="{5BBF5E3C-CEDA-425D-9F29-68881C304B7D}" dt="2021-09-30T22:49:40.197" v="309" actId="478"/>
          <ac:picMkLst>
            <pc:docMk/>
            <pc:sldMk cId="922459630" sldId="359"/>
            <ac:picMk id="4" creationId="{46217DEB-2520-4021-A3A3-157E7A5A08B9}"/>
          </ac:picMkLst>
        </pc:picChg>
        <pc:picChg chg="add del mod">
          <ac:chgData name="Tony Radkiewicz" userId="9832534a-7e4f-4058-9c41-7f4a5b855c95" providerId="ADAL" clId="{5BBF5E3C-CEDA-425D-9F29-68881C304B7D}" dt="2021-09-30T22:50:45.823" v="322" actId="478"/>
          <ac:picMkLst>
            <pc:docMk/>
            <pc:sldMk cId="922459630" sldId="359"/>
            <ac:picMk id="6" creationId="{B7C0E927-0FEA-4657-8AC1-BD7EFD9567C4}"/>
          </ac:picMkLst>
        </pc:picChg>
        <pc:picChg chg="add mod ord">
          <ac:chgData name="Tony Radkiewicz" userId="9832534a-7e4f-4058-9c41-7f4a5b855c95" providerId="ADAL" clId="{5BBF5E3C-CEDA-425D-9F29-68881C304B7D}" dt="2021-09-30T22:52:14.926" v="331" actId="167"/>
          <ac:picMkLst>
            <pc:docMk/>
            <pc:sldMk cId="922459630" sldId="359"/>
            <ac:picMk id="8" creationId="{9ABD23FA-4C18-4312-B409-8E3E422A3A91}"/>
          </ac:picMkLst>
        </pc:picChg>
        <pc:picChg chg="del">
          <ac:chgData name="Tony Radkiewicz" userId="9832534a-7e4f-4058-9c41-7f4a5b855c95" providerId="ADAL" clId="{5BBF5E3C-CEDA-425D-9F29-68881C304B7D}" dt="2021-09-30T22:49:08.932" v="301" actId="478"/>
          <ac:picMkLst>
            <pc:docMk/>
            <pc:sldMk cId="922459630" sldId="359"/>
            <ac:picMk id="12" creationId="{4B06F802-C5E6-4F16-AADE-797B8DB70083}"/>
          </ac:picMkLst>
        </pc:picChg>
      </pc:sldChg>
    </pc:docChg>
  </pc:docChgLst>
  <pc:docChgLst>
    <pc:chgData name="Tony Radkiewicz" userId="9832534a-7e4f-4058-9c41-7f4a5b855c95" providerId="ADAL" clId="{D59706A1-53B4-4D04-99F5-C2F800B511F1}"/>
    <pc:docChg chg="undo redo custSel modSld">
      <pc:chgData name="Tony Radkiewicz" userId="9832534a-7e4f-4058-9c41-7f4a5b855c95" providerId="ADAL" clId="{D59706A1-53B4-4D04-99F5-C2F800B511F1}" dt="2021-04-21T21:10:35.591" v="367" actId="1076"/>
      <pc:docMkLst>
        <pc:docMk/>
      </pc:docMkLst>
      <pc:sldChg chg="modCm">
        <pc:chgData name="Tony Radkiewicz" userId="9832534a-7e4f-4058-9c41-7f4a5b855c95" providerId="ADAL" clId="{D59706A1-53B4-4D04-99F5-C2F800B511F1}" dt="2021-03-29T20:38:31.650" v="0"/>
        <pc:sldMkLst>
          <pc:docMk/>
          <pc:sldMk cId="1230423366" sldId="263"/>
        </pc:sldMkLst>
      </pc:sldChg>
      <pc:sldChg chg="modCm">
        <pc:chgData name="Tony Radkiewicz" userId="9832534a-7e4f-4058-9c41-7f4a5b855c95" providerId="ADAL" clId="{D59706A1-53B4-4D04-99F5-C2F800B511F1}" dt="2021-03-29T20:38:57.265" v="1"/>
        <pc:sldMkLst>
          <pc:docMk/>
          <pc:sldMk cId="3607193115" sldId="266"/>
        </pc:sldMkLst>
      </pc:sldChg>
      <pc:sldChg chg="addCm modCm">
        <pc:chgData name="Tony Radkiewicz" userId="9832534a-7e4f-4058-9c41-7f4a5b855c95" providerId="ADAL" clId="{D59706A1-53B4-4D04-99F5-C2F800B511F1}" dt="2021-04-09T18:38:10.668" v="53"/>
        <pc:sldMkLst>
          <pc:docMk/>
          <pc:sldMk cId="2554072163" sldId="269"/>
        </pc:sldMkLst>
      </pc:sldChg>
      <pc:sldChg chg="modSp mod">
        <pc:chgData name="Tony Radkiewicz" userId="9832534a-7e4f-4058-9c41-7f4a5b855c95" providerId="ADAL" clId="{D59706A1-53B4-4D04-99F5-C2F800B511F1}" dt="2021-04-21T19:46:06.497" v="116" actId="14100"/>
        <pc:sldMkLst>
          <pc:docMk/>
          <pc:sldMk cId="2508498538" sldId="277"/>
        </pc:sldMkLst>
        <pc:graphicFrameChg chg="mod">
          <ac:chgData name="Tony Radkiewicz" userId="9832534a-7e4f-4058-9c41-7f4a5b855c95" providerId="ADAL" clId="{D59706A1-53B4-4D04-99F5-C2F800B511F1}" dt="2021-04-21T19:46:06.497" v="116" actId="14100"/>
          <ac:graphicFrameMkLst>
            <pc:docMk/>
            <pc:sldMk cId="2508498538" sldId="277"/>
            <ac:graphicFrameMk id="4" creationId="{8B2AB052-3209-4C7E-B6B4-9AB421354992}"/>
          </ac:graphicFrameMkLst>
        </pc:graphicFrameChg>
        <pc:graphicFrameChg chg="mod">
          <ac:chgData name="Tony Radkiewicz" userId="9832534a-7e4f-4058-9c41-7f4a5b855c95" providerId="ADAL" clId="{D59706A1-53B4-4D04-99F5-C2F800B511F1}" dt="2021-04-21T19:45:52.204" v="109" actId="14100"/>
          <ac:graphicFrameMkLst>
            <pc:docMk/>
            <pc:sldMk cId="2508498538" sldId="277"/>
            <ac:graphicFrameMk id="5" creationId="{38D36B3D-5A15-4DD2-9146-3616185CF334}"/>
          </ac:graphicFrameMkLst>
        </pc:graphicFrameChg>
      </pc:sldChg>
      <pc:sldChg chg="modSp mod">
        <pc:chgData name="Tony Radkiewicz" userId="9832534a-7e4f-4058-9c41-7f4a5b855c95" providerId="ADAL" clId="{D59706A1-53B4-4D04-99F5-C2F800B511F1}" dt="2021-04-21T19:46:36.647" v="131" actId="3064"/>
        <pc:sldMkLst>
          <pc:docMk/>
          <pc:sldMk cId="3650975258" sldId="278"/>
        </pc:sldMkLst>
        <pc:spChg chg="mod">
          <ac:chgData name="Tony Radkiewicz" userId="9832534a-7e4f-4058-9c41-7f4a5b855c95" providerId="ADAL" clId="{D59706A1-53B4-4D04-99F5-C2F800B511F1}" dt="2021-04-21T19:46:36.647" v="131" actId="3064"/>
          <ac:spMkLst>
            <pc:docMk/>
            <pc:sldMk cId="3650975258" sldId="278"/>
            <ac:spMk id="6" creationId="{4CE014F1-9C61-4BCA-8A4D-508E5FD7E1B7}"/>
          </ac:spMkLst>
        </pc:spChg>
        <pc:graphicFrameChg chg="mod">
          <ac:chgData name="Tony Radkiewicz" userId="9832534a-7e4f-4058-9c41-7f4a5b855c95" providerId="ADAL" clId="{D59706A1-53B4-4D04-99F5-C2F800B511F1}" dt="2021-04-21T19:46:21.744" v="124" actId="1076"/>
          <ac:graphicFrameMkLst>
            <pc:docMk/>
            <pc:sldMk cId="3650975258" sldId="278"/>
            <ac:graphicFrameMk id="4" creationId="{9BF7A521-8CC8-44B9-9A62-AF8EA1DAE537}"/>
          </ac:graphicFrameMkLst>
        </pc:graphicFrameChg>
      </pc:sldChg>
      <pc:sldChg chg="modSp mod addCm">
        <pc:chgData name="Tony Radkiewicz" userId="9832534a-7e4f-4058-9c41-7f4a5b855c95" providerId="ADAL" clId="{D59706A1-53B4-4D04-99F5-C2F800B511F1}" dt="2021-04-21T21:10:35.591" v="367" actId="1076"/>
        <pc:sldMkLst>
          <pc:docMk/>
          <pc:sldMk cId="4006278816" sldId="279"/>
        </pc:sldMkLst>
        <pc:spChg chg="mod">
          <ac:chgData name="Tony Radkiewicz" userId="9832534a-7e4f-4058-9c41-7f4a5b855c95" providerId="ADAL" clId="{D59706A1-53B4-4D04-99F5-C2F800B511F1}" dt="2021-04-21T19:49:08.527" v="178" actId="1076"/>
          <ac:spMkLst>
            <pc:docMk/>
            <pc:sldMk cId="4006278816" sldId="279"/>
            <ac:spMk id="2" creationId="{6CB60889-84C8-4CD7-9404-1DB0F0AF2FB8}"/>
          </ac:spMkLst>
        </pc:spChg>
        <pc:spChg chg="mod">
          <ac:chgData name="Tony Radkiewicz" userId="9832534a-7e4f-4058-9c41-7f4a5b855c95" providerId="ADAL" clId="{D59706A1-53B4-4D04-99F5-C2F800B511F1}" dt="2021-04-21T21:10:35.591" v="367" actId="1076"/>
          <ac:spMkLst>
            <pc:docMk/>
            <pc:sldMk cId="4006278816" sldId="279"/>
            <ac:spMk id="6" creationId="{937FA04D-A9D1-47B3-93F6-1257D434A8A4}"/>
          </ac:spMkLst>
        </pc:spChg>
      </pc:sldChg>
      <pc:sldChg chg="addCm">
        <pc:chgData name="Tony Radkiewicz" userId="9832534a-7e4f-4058-9c41-7f4a5b855c95" providerId="ADAL" clId="{D59706A1-53B4-4D04-99F5-C2F800B511F1}" dt="2021-03-29T20:42:20.110" v="4"/>
        <pc:sldMkLst>
          <pc:docMk/>
          <pc:sldMk cId="2233136314" sldId="280"/>
        </pc:sldMkLst>
      </pc:sldChg>
      <pc:sldChg chg="modSp mod">
        <pc:chgData name="Tony Radkiewicz" userId="9832534a-7e4f-4058-9c41-7f4a5b855c95" providerId="ADAL" clId="{D59706A1-53B4-4D04-99F5-C2F800B511F1}" dt="2021-04-21T19:48:45.286" v="171" actId="3064"/>
        <pc:sldMkLst>
          <pc:docMk/>
          <pc:sldMk cId="3851443998" sldId="282"/>
        </pc:sldMkLst>
        <pc:spChg chg="mod">
          <ac:chgData name="Tony Radkiewicz" userId="9832534a-7e4f-4058-9c41-7f4a5b855c95" providerId="ADAL" clId="{D59706A1-53B4-4D04-99F5-C2F800B511F1}" dt="2021-04-21T19:47:56.104" v="150" actId="1076"/>
          <ac:spMkLst>
            <pc:docMk/>
            <pc:sldMk cId="3851443998" sldId="282"/>
            <ac:spMk id="2" creationId="{F92BF848-BD86-4C1C-B48C-FBDF68FF9BB2}"/>
          </ac:spMkLst>
        </pc:spChg>
        <pc:spChg chg="mod">
          <ac:chgData name="Tony Radkiewicz" userId="9832534a-7e4f-4058-9c41-7f4a5b855c95" providerId="ADAL" clId="{D59706A1-53B4-4D04-99F5-C2F800B511F1}" dt="2021-04-21T19:48:28.738" v="162" actId="14100"/>
          <ac:spMkLst>
            <pc:docMk/>
            <pc:sldMk cId="3851443998" sldId="282"/>
            <ac:spMk id="7" creationId="{8576203E-EB4C-4A14-B252-6D78DF66E990}"/>
          </ac:spMkLst>
        </pc:spChg>
        <pc:spChg chg="mod">
          <ac:chgData name="Tony Radkiewicz" userId="9832534a-7e4f-4058-9c41-7f4a5b855c95" providerId="ADAL" clId="{D59706A1-53B4-4D04-99F5-C2F800B511F1}" dt="2021-04-21T19:47:42.084" v="141" actId="14100"/>
          <ac:spMkLst>
            <pc:docMk/>
            <pc:sldMk cId="3851443998" sldId="282"/>
            <ac:spMk id="8" creationId="{3253C3D2-7C15-4D4A-8F0F-FDDC531CA527}"/>
          </ac:spMkLst>
        </pc:spChg>
        <pc:spChg chg="mod">
          <ac:chgData name="Tony Radkiewicz" userId="9832534a-7e4f-4058-9c41-7f4a5b855c95" providerId="ADAL" clId="{D59706A1-53B4-4D04-99F5-C2F800B511F1}" dt="2021-04-21T19:48:45.286" v="171" actId="3064"/>
          <ac:spMkLst>
            <pc:docMk/>
            <pc:sldMk cId="3851443998" sldId="282"/>
            <ac:spMk id="9" creationId="{7EB53857-6044-4BD7-848D-EF885D48417B}"/>
          </ac:spMkLst>
        </pc:spChg>
      </pc:sldChg>
      <pc:sldChg chg="modSp mod">
        <pc:chgData name="Tony Radkiewicz" userId="9832534a-7e4f-4058-9c41-7f4a5b855c95" providerId="ADAL" clId="{D59706A1-53B4-4D04-99F5-C2F800B511F1}" dt="2021-04-21T19:51:38.480" v="199" actId="3064"/>
        <pc:sldMkLst>
          <pc:docMk/>
          <pc:sldMk cId="2132298953" sldId="283"/>
        </pc:sldMkLst>
        <pc:spChg chg="mod">
          <ac:chgData name="Tony Radkiewicz" userId="9832534a-7e4f-4058-9c41-7f4a5b855c95" providerId="ADAL" clId="{D59706A1-53B4-4D04-99F5-C2F800B511F1}" dt="2021-04-21T19:51:38.480" v="199" actId="3064"/>
          <ac:spMkLst>
            <pc:docMk/>
            <pc:sldMk cId="2132298953" sldId="283"/>
            <ac:spMk id="6" creationId="{57F21D56-4AF5-4BA9-830A-68C97D8DA718}"/>
          </ac:spMkLst>
        </pc:spChg>
      </pc:sldChg>
      <pc:sldChg chg="modAnim addCm modCm">
        <pc:chgData name="Tony Radkiewicz" userId="9832534a-7e4f-4058-9c41-7f4a5b855c95" providerId="ADAL" clId="{D59706A1-53B4-4D04-99F5-C2F800B511F1}" dt="2021-04-21T20:55:59.682" v="343"/>
        <pc:sldMkLst>
          <pc:docMk/>
          <pc:sldMk cId="313771798" sldId="284"/>
        </pc:sldMkLst>
      </pc:sldChg>
      <pc:sldChg chg="modSp mod">
        <pc:chgData name="Tony Radkiewicz" userId="9832534a-7e4f-4058-9c41-7f4a5b855c95" providerId="ADAL" clId="{D59706A1-53B4-4D04-99F5-C2F800B511F1}" dt="2021-04-21T19:51:53.603" v="203" actId="1076"/>
        <pc:sldMkLst>
          <pc:docMk/>
          <pc:sldMk cId="802291280" sldId="285"/>
        </pc:sldMkLst>
        <pc:picChg chg="mod">
          <ac:chgData name="Tony Radkiewicz" userId="9832534a-7e4f-4058-9c41-7f4a5b855c95" providerId="ADAL" clId="{D59706A1-53B4-4D04-99F5-C2F800B511F1}" dt="2021-04-21T19:51:53.603" v="203" actId="1076"/>
          <ac:picMkLst>
            <pc:docMk/>
            <pc:sldMk cId="802291280" sldId="285"/>
            <ac:picMk id="4" creationId="{5F081B20-B163-4622-AD5D-7EEC3A9600C9}"/>
          </ac:picMkLst>
        </pc:picChg>
      </pc:sldChg>
      <pc:sldChg chg="modSp mod modCm">
        <pc:chgData name="Tony Radkiewicz" userId="9832534a-7e4f-4058-9c41-7f4a5b855c95" providerId="ADAL" clId="{D59706A1-53B4-4D04-99F5-C2F800B511F1}" dt="2021-04-21T19:44:18.478" v="100" actId="3064"/>
        <pc:sldMkLst>
          <pc:docMk/>
          <pc:sldMk cId="1092563474" sldId="294"/>
        </pc:sldMkLst>
        <pc:spChg chg="mod">
          <ac:chgData name="Tony Radkiewicz" userId="9832534a-7e4f-4058-9c41-7f4a5b855c95" providerId="ADAL" clId="{D59706A1-53B4-4D04-99F5-C2F800B511F1}" dt="2021-04-21T19:44:18.478" v="100" actId="3064"/>
          <ac:spMkLst>
            <pc:docMk/>
            <pc:sldMk cId="1092563474" sldId="294"/>
            <ac:spMk id="7" creationId="{2CA59A90-F19B-4DE1-B546-663DBE03B173}"/>
          </ac:spMkLst>
        </pc:spChg>
        <pc:graphicFrameChg chg="mod">
          <ac:chgData name="Tony Radkiewicz" userId="9832534a-7e4f-4058-9c41-7f4a5b855c95" providerId="ADAL" clId="{D59706A1-53B4-4D04-99F5-C2F800B511F1}" dt="2021-04-21T19:44:12.428" v="94" actId="14100"/>
          <ac:graphicFrameMkLst>
            <pc:docMk/>
            <pc:sldMk cId="1092563474" sldId="294"/>
            <ac:graphicFrameMk id="8" creationId="{761F802D-7BD0-48E8-B98D-30EB9F84A772}"/>
          </ac:graphicFrameMkLst>
        </pc:graphicFrameChg>
        <pc:picChg chg="mod">
          <ac:chgData name="Tony Radkiewicz" userId="9832534a-7e4f-4058-9c41-7f4a5b855c95" providerId="ADAL" clId="{D59706A1-53B4-4D04-99F5-C2F800B511F1}" dt="2021-04-21T19:44:09.903" v="90" actId="1076"/>
          <ac:picMkLst>
            <pc:docMk/>
            <pc:sldMk cId="1092563474" sldId="294"/>
            <ac:picMk id="6" creationId="{DD695349-EC40-45D3-A24D-DD5CB293C1B2}"/>
          </ac:picMkLst>
        </pc:picChg>
      </pc:sldChg>
      <pc:sldChg chg="modSp mod">
        <pc:chgData name="Tony Radkiewicz" userId="9832534a-7e4f-4058-9c41-7f4a5b855c95" providerId="ADAL" clId="{D59706A1-53B4-4D04-99F5-C2F800B511F1}" dt="2021-04-21T19:52:19.558" v="209" actId="1076"/>
        <pc:sldMkLst>
          <pc:docMk/>
          <pc:sldMk cId="2819261708" sldId="297"/>
        </pc:sldMkLst>
        <pc:picChg chg="mod">
          <ac:chgData name="Tony Radkiewicz" userId="9832534a-7e4f-4058-9c41-7f4a5b855c95" providerId="ADAL" clId="{D59706A1-53B4-4D04-99F5-C2F800B511F1}" dt="2021-04-21T19:52:19.558" v="209" actId="1076"/>
          <ac:picMkLst>
            <pc:docMk/>
            <pc:sldMk cId="2819261708" sldId="297"/>
            <ac:picMk id="4" creationId="{59CB3272-FCD2-49F5-8DF6-568DDC196E42}"/>
          </ac:picMkLst>
        </pc:picChg>
      </pc:sldChg>
      <pc:sldChg chg="modCm">
        <pc:chgData name="Tony Radkiewicz" userId="9832534a-7e4f-4058-9c41-7f4a5b855c95" providerId="ADAL" clId="{D59706A1-53B4-4D04-99F5-C2F800B511F1}" dt="2021-04-09T18:36:54.947" v="50"/>
        <pc:sldMkLst>
          <pc:docMk/>
          <pc:sldMk cId="953258012" sldId="298"/>
        </pc:sldMkLst>
      </pc:sldChg>
      <pc:sldChg chg="modSp mod">
        <pc:chgData name="Tony Radkiewicz" userId="9832534a-7e4f-4058-9c41-7f4a5b855c95" providerId="ADAL" clId="{D59706A1-53B4-4D04-99F5-C2F800B511F1}" dt="2021-04-21T20:46:32.549" v="242" actId="14100"/>
        <pc:sldMkLst>
          <pc:docMk/>
          <pc:sldMk cId="1602068736" sldId="299"/>
        </pc:sldMkLst>
        <pc:graphicFrameChg chg="mod">
          <ac:chgData name="Tony Radkiewicz" userId="9832534a-7e4f-4058-9c41-7f4a5b855c95" providerId="ADAL" clId="{D59706A1-53B4-4D04-99F5-C2F800B511F1}" dt="2021-04-21T20:46:32.549" v="242" actId="14100"/>
          <ac:graphicFrameMkLst>
            <pc:docMk/>
            <pc:sldMk cId="1602068736" sldId="299"/>
            <ac:graphicFrameMk id="4" creationId="{8B2AB052-3209-4C7E-B6B4-9AB421354992}"/>
          </ac:graphicFrameMkLst>
        </pc:graphicFrameChg>
        <pc:graphicFrameChg chg="mod">
          <ac:chgData name="Tony Radkiewicz" userId="9832534a-7e4f-4058-9c41-7f4a5b855c95" providerId="ADAL" clId="{D59706A1-53B4-4D04-99F5-C2F800B511F1}" dt="2021-04-21T19:53:16.340" v="224" actId="14100"/>
          <ac:graphicFrameMkLst>
            <pc:docMk/>
            <pc:sldMk cId="1602068736" sldId="299"/>
            <ac:graphicFrameMk id="7" creationId="{7783C770-6205-4D5B-A845-381FDFAC6C94}"/>
          </ac:graphicFrameMkLst>
        </pc:graphicFrameChg>
      </pc:sldChg>
      <pc:sldChg chg="modCm">
        <pc:chgData name="Tony Radkiewicz" userId="9832534a-7e4f-4058-9c41-7f4a5b855c95" providerId="ADAL" clId="{D59706A1-53B4-4D04-99F5-C2F800B511F1}" dt="2021-03-29T20:45:47.952" v="14"/>
        <pc:sldMkLst>
          <pc:docMk/>
          <pc:sldMk cId="2135647218" sldId="300"/>
        </pc:sldMkLst>
      </pc:sldChg>
      <pc:sldChg chg="addCm modCm">
        <pc:chgData name="Tony Radkiewicz" userId="9832534a-7e4f-4058-9c41-7f4a5b855c95" providerId="ADAL" clId="{D59706A1-53B4-4D04-99F5-C2F800B511F1}" dt="2021-04-21T21:08:01.709" v="356"/>
        <pc:sldMkLst>
          <pc:docMk/>
          <pc:sldMk cId="2567317455" sldId="301"/>
        </pc:sldMkLst>
      </pc:sldChg>
      <pc:sldChg chg="addCm">
        <pc:chgData name="Tony Radkiewicz" userId="9832534a-7e4f-4058-9c41-7f4a5b855c95" providerId="ADAL" clId="{D59706A1-53B4-4D04-99F5-C2F800B511F1}" dt="2021-04-09T18:38:50.770" v="54"/>
        <pc:sldMkLst>
          <pc:docMk/>
          <pc:sldMk cId="1473393101" sldId="304"/>
        </pc:sldMkLst>
      </pc:sldChg>
      <pc:sldChg chg="modSp mod">
        <pc:chgData name="Tony Radkiewicz" userId="9832534a-7e4f-4058-9c41-7f4a5b855c95" providerId="ADAL" clId="{D59706A1-53B4-4D04-99F5-C2F800B511F1}" dt="2021-04-21T20:49:13.565" v="302" actId="14100"/>
        <pc:sldMkLst>
          <pc:docMk/>
          <pc:sldMk cId="2336824456" sldId="305"/>
        </pc:sldMkLst>
        <pc:spChg chg="mod">
          <ac:chgData name="Tony Radkiewicz" userId="9832534a-7e4f-4058-9c41-7f4a5b855c95" providerId="ADAL" clId="{D59706A1-53B4-4D04-99F5-C2F800B511F1}" dt="2021-04-21T20:46:57.753" v="255" actId="14100"/>
          <ac:spMkLst>
            <pc:docMk/>
            <pc:sldMk cId="2336824456" sldId="305"/>
            <ac:spMk id="2" creationId="{AE0A7C21-C970-4D3B-BB83-2B5A9E9C7D5E}"/>
          </ac:spMkLst>
        </pc:spChg>
        <pc:spChg chg="mod">
          <ac:chgData name="Tony Radkiewicz" userId="9832534a-7e4f-4058-9c41-7f4a5b855c95" providerId="ADAL" clId="{D59706A1-53B4-4D04-99F5-C2F800B511F1}" dt="2021-04-21T20:49:13.565" v="302" actId="14100"/>
          <ac:spMkLst>
            <pc:docMk/>
            <pc:sldMk cId="2336824456" sldId="305"/>
            <ac:spMk id="6" creationId="{57F21D56-4AF5-4BA9-830A-68C97D8DA718}"/>
          </ac:spMkLst>
        </pc:spChg>
      </pc:sldChg>
      <pc:sldChg chg="modSp mod addCm">
        <pc:chgData name="Tony Radkiewicz" userId="9832534a-7e4f-4058-9c41-7f4a5b855c95" providerId="ADAL" clId="{D59706A1-53B4-4D04-99F5-C2F800B511F1}" dt="2021-04-21T20:49:37.972" v="314" actId="3064"/>
        <pc:sldMkLst>
          <pc:docMk/>
          <pc:sldMk cId="153140128" sldId="306"/>
        </pc:sldMkLst>
        <pc:spChg chg="mod">
          <ac:chgData name="Tony Radkiewicz" userId="9832534a-7e4f-4058-9c41-7f4a5b855c95" providerId="ADAL" clId="{D59706A1-53B4-4D04-99F5-C2F800B511F1}" dt="2021-04-21T20:49:37.972" v="314" actId="3064"/>
          <ac:spMkLst>
            <pc:docMk/>
            <pc:sldMk cId="153140128" sldId="306"/>
            <ac:spMk id="6" creationId="{57F21D56-4AF5-4BA9-830A-68C97D8DA718}"/>
          </ac:spMkLst>
        </pc:spChg>
      </pc:sldChg>
      <pc:sldChg chg="modCm">
        <pc:chgData name="Tony Radkiewicz" userId="9832534a-7e4f-4058-9c41-7f4a5b855c95" providerId="ADAL" clId="{D59706A1-53B4-4D04-99F5-C2F800B511F1}" dt="2021-04-21T21:06:01.590" v="355"/>
        <pc:sldMkLst>
          <pc:docMk/>
          <pc:sldMk cId="67706399" sldId="307"/>
        </pc:sldMkLst>
      </pc:sldChg>
      <pc:sldChg chg="modSp mod">
        <pc:chgData name="Tony Radkiewicz" userId="9832534a-7e4f-4058-9c41-7f4a5b855c95" providerId="ADAL" clId="{D59706A1-53B4-4D04-99F5-C2F800B511F1}" dt="2021-04-21T20:48:53.823" v="298" actId="14100"/>
        <pc:sldMkLst>
          <pc:docMk/>
          <pc:sldMk cId="3518894022" sldId="308"/>
        </pc:sldMkLst>
        <pc:spChg chg="mod">
          <ac:chgData name="Tony Radkiewicz" userId="9832534a-7e4f-4058-9c41-7f4a5b855c95" providerId="ADAL" clId="{D59706A1-53B4-4D04-99F5-C2F800B511F1}" dt="2021-04-21T20:48:53.823" v="298" actId="14100"/>
          <ac:spMkLst>
            <pc:docMk/>
            <pc:sldMk cId="3518894022" sldId="308"/>
            <ac:spMk id="5" creationId="{AE438A98-FC77-47DC-A5A4-FCED999E84F2}"/>
          </ac:spMkLst>
        </pc:spChg>
        <pc:spChg chg="mod">
          <ac:chgData name="Tony Radkiewicz" userId="9832534a-7e4f-4058-9c41-7f4a5b855c95" providerId="ADAL" clId="{D59706A1-53B4-4D04-99F5-C2F800B511F1}" dt="2021-04-21T20:47:32.535" v="267" actId="3064"/>
          <ac:spMkLst>
            <pc:docMk/>
            <pc:sldMk cId="3518894022" sldId="308"/>
            <ac:spMk id="6" creationId="{57F21D56-4AF5-4BA9-830A-68C97D8DA718}"/>
          </ac:spMkLst>
        </pc:spChg>
        <pc:spChg chg="mod">
          <ac:chgData name="Tony Radkiewicz" userId="9832534a-7e4f-4058-9c41-7f4a5b855c95" providerId="ADAL" clId="{D59706A1-53B4-4D04-99F5-C2F800B511F1}" dt="2021-04-21T20:48:23.455" v="290" actId="3064"/>
          <ac:spMkLst>
            <pc:docMk/>
            <pc:sldMk cId="3518894022" sldId="308"/>
            <ac:spMk id="7" creationId="{2285671B-5B00-4587-BEA9-3A39D9BDB418}"/>
          </ac:spMkLst>
        </pc:spChg>
      </pc:sldChg>
      <pc:sldChg chg="addSp modSp mod addCm">
        <pc:chgData name="Tony Radkiewicz" userId="9832534a-7e4f-4058-9c41-7f4a5b855c95" providerId="ADAL" clId="{D59706A1-53B4-4D04-99F5-C2F800B511F1}" dt="2021-04-21T21:03:11.833" v="353" actId="1076"/>
        <pc:sldMkLst>
          <pc:docMk/>
          <pc:sldMk cId="2002600588" sldId="309"/>
        </pc:sldMkLst>
        <pc:picChg chg="add mod">
          <ac:chgData name="Tony Radkiewicz" userId="9832534a-7e4f-4058-9c41-7f4a5b855c95" providerId="ADAL" clId="{D59706A1-53B4-4D04-99F5-C2F800B511F1}" dt="2021-04-21T21:03:11.833" v="353" actId="1076"/>
          <ac:picMkLst>
            <pc:docMk/>
            <pc:sldMk cId="2002600588" sldId="309"/>
            <ac:picMk id="5" creationId="{5695AD5F-5194-4AD0-B396-0C9DFC5ADBB8}"/>
          </ac:picMkLst>
        </pc:picChg>
      </pc:sldChg>
      <pc:sldChg chg="modSp mod">
        <pc:chgData name="Tony Radkiewicz" userId="9832534a-7e4f-4058-9c41-7f4a5b855c95" providerId="ADAL" clId="{D59706A1-53B4-4D04-99F5-C2F800B511F1}" dt="2021-04-21T20:50:36.631" v="325" actId="3064"/>
        <pc:sldMkLst>
          <pc:docMk/>
          <pc:sldMk cId="602721421" sldId="310"/>
        </pc:sldMkLst>
        <pc:spChg chg="mod">
          <ac:chgData name="Tony Radkiewicz" userId="9832534a-7e4f-4058-9c41-7f4a5b855c95" providerId="ADAL" clId="{D59706A1-53B4-4D04-99F5-C2F800B511F1}" dt="2021-04-21T20:50:36.631" v="325" actId="3064"/>
          <ac:spMkLst>
            <pc:docMk/>
            <pc:sldMk cId="602721421" sldId="310"/>
            <ac:spMk id="5" creationId="{5CAFC0E4-6FC2-4528-8082-DCEFFB4A54DF}"/>
          </ac:spMkLst>
        </pc:spChg>
      </pc:sldChg>
      <pc:sldChg chg="modCm">
        <pc:chgData name="Tony Radkiewicz" userId="9832534a-7e4f-4058-9c41-7f4a5b855c95" providerId="ADAL" clId="{D59706A1-53B4-4D04-99F5-C2F800B511F1}" dt="2021-04-21T21:03:57.793" v="354"/>
        <pc:sldMkLst>
          <pc:docMk/>
          <pc:sldMk cId="1765459266" sldId="311"/>
        </pc:sldMkLst>
      </pc:sldChg>
      <pc:sldChg chg="modCm">
        <pc:chgData name="Tony Radkiewicz" userId="9832534a-7e4f-4058-9c41-7f4a5b855c95" providerId="ADAL" clId="{D59706A1-53B4-4D04-99F5-C2F800B511F1}" dt="2021-04-09T18:35:24.773" v="39"/>
        <pc:sldMkLst>
          <pc:docMk/>
          <pc:sldMk cId="2382406181" sldId="312"/>
        </pc:sldMkLst>
      </pc:sldChg>
      <pc:sldChg chg="addCm">
        <pc:chgData name="Tony Radkiewicz" userId="9832534a-7e4f-4058-9c41-7f4a5b855c95" providerId="ADAL" clId="{D59706A1-53B4-4D04-99F5-C2F800B511F1}" dt="2021-04-09T18:41:56.819" v="55"/>
        <pc:sldMkLst>
          <pc:docMk/>
          <pc:sldMk cId="1470083596" sldId="313"/>
        </pc:sldMkLst>
      </pc:sldChg>
      <pc:sldChg chg="modCm">
        <pc:chgData name="Tony Radkiewicz" userId="9832534a-7e4f-4058-9c41-7f4a5b855c95" providerId="ADAL" clId="{D59706A1-53B4-4D04-99F5-C2F800B511F1}" dt="2021-04-09T18:46:26.684" v="58"/>
        <pc:sldMkLst>
          <pc:docMk/>
          <pc:sldMk cId="2089933290" sldId="314"/>
        </pc:sldMkLst>
      </pc:sldChg>
      <pc:sldChg chg="modCm">
        <pc:chgData name="Tony Radkiewicz" userId="9832534a-7e4f-4058-9c41-7f4a5b855c95" providerId="ADAL" clId="{D59706A1-53B4-4D04-99F5-C2F800B511F1}" dt="2021-04-09T19:00:11.830" v="59"/>
        <pc:sldMkLst>
          <pc:docMk/>
          <pc:sldMk cId="3280043200" sldId="315"/>
        </pc:sldMkLst>
      </pc:sldChg>
      <pc:sldChg chg="modSp mod">
        <pc:chgData name="Tony Radkiewicz" userId="9832534a-7e4f-4058-9c41-7f4a5b855c95" providerId="ADAL" clId="{D59706A1-53B4-4D04-99F5-C2F800B511F1}" dt="2021-04-21T20:56:58.423" v="352" actId="14100"/>
        <pc:sldMkLst>
          <pc:docMk/>
          <pc:sldMk cId="1264862004" sldId="316"/>
        </pc:sldMkLst>
        <pc:graphicFrameChg chg="mod">
          <ac:chgData name="Tony Radkiewicz" userId="9832534a-7e4f-4058-9c41-7f4a5b855c95" providerId="ADAL" clId="{D59706A1-53B4-4D04-99F5-C2F800B511F1}" dt="2021-04-21T20:56:58.423" v="352" actId="14100"/>
          <ac:graphicFrameMkLst>
            <pc:docMk/>
            <pc:sldMk cId="1264862004" sldId="316"/>
            <ac:graphicFrameMk id="3" creationId="{9750A5C7-67B9-47AA-820C-243983D78055}"/>
          </ac:graphicFrameMkLst>
        </pc:graphicFrameChg>
      </pc:sldChg>
    </pc:docChg>
  </pc:docChgLst>
  <pc:docChgLst>
    <pc:chgData name="Kory Thacher" userId="995eb0f2-f21c-467c-a947-4f8fc26d0f2e" providerId="ADAL" clId="{05368BF1-6F54-4ED3-A960-C453F4FF4B8C}"/>
    <pc:docChg chg="undo custSel addSld delSld modSld sldOrd modSection">
      <pc:chgData name="Kory Thacher" userId="995eb0f2-f21c-467c-a947-4f8fc26d0f2e" providerId="ADAL" clId="{05368BF1-6F54-4ED3-A960-C453F4FF4B8C}" dt="2021-05-05T23:41:35.629" v="5501"/>
      <pc:docMkLst>
        <pc:docMk/>
      </pc:docMkLst>
      <pc:sldChg chg="addSp delSp modSp mod">
        <pc:chgData name="Kory Thacher" userId="995eb0f2-f21c-467c-a947-4f8fc26d0f2e" providerId="ADAL" clId="{05368BF1-6F54-4ED3-A960-C453F4FF4B8C}" dt="2021-03-31T18:02:20.850" v="4893" actId="478"/>
        <pc:sldMkLst>
          <pc:docMk/>
          <pc:sldMk cId="1325058836" sldId="256"/>
        </pc:sldMkLst>
        <pc:spChg chg="del">
          <ac:chgData name="Kory Thacher" userId="995eb0f2-f21c-467c-a947-4f8fc26d0f2e" providerId="ADAL" clId="{05368BF1-6F54-4ED3-A960-C453F4FF4B8C}" dt="2021-03-31T18:02:16.181" v="4891" actId="478"/>
          <ac:spMkLst>
            <pc:docMk/>
            <pc:sldMk cId="1325058836" sldId="256"/>
            <ac:spMk id="2" creationId="{FC80376E-5E2F-4DA1-9554-8011941F0310}"/>
          </ac:spMkLst>
        </pc:spChg>
        <pc:spChg chg="add del mod">
          <ac:chgData name="Kory Thacher" userId="995eb0f2-f21c-467c-a947-4f8fc26d0f2e" providerId="ADAL" clId="{05368BF1-6F54-4ED3-A960-C453F4FF4B8C}" dt="2021-03-31T18:02:20.850" v="4893" actId="478"/>
          <ac:spMkLst>
            <pc:docMk/>
            <pc:sldMk cId="1325058836" sldId="256"/>
            <ac:spMk id="4" creationId="{2F1F8328-8494-4E6B-80EB-B4BBC4369F44}"/>
          </ac:spMkLst>
        </pc:spChg>
        <pc:spChg chg="mod">
          <ac:chgData name="Kory Thacher" userId="995eb0f2-f21c-467c-a947-4f8fc26d0f2e" providerId="ADAL" clId="{05368BF1-6F54-4ED3-A960-C453F4FF4B8C}" dt="2021-03-31T18:02:12.804" v="4890" actId="20577"/>
          <ac:spMkLst>
            <pc:docMk/>
            <pc:sldMk cId="1325058836" sldId="256"/>
            <ac:spMk id="6" creationId="{00000000-0000-0000-0000-000000000000}"/>
          </ac:spMkLst>
        </pc:spChg>
      </pc:sldChg>
      <pc:sldChg chg="del mod modShow addCm">
        <pc:chgData name="Kory Thacher" userId="995eb0f2-f21c-467c-a947-4f8fc26d0f2e" providerId="ADAL" clId="{05368BF1-6F54-4ED3-A960-C453F4FF4B8C}" dt="2021-04-21T21:06:33.992" v="4895" actId="47"/>
        <pc:sldMkLst>
          <pc:docMk/>
          <pc:sldMk cId="1230423366" sldId="263"/>
        </pc:sldMkLst>
      </pc:sldChg>
      <pc:sldChg chg="del addCm">
        <pc:chgData name="Kory Thacher" userId="995eb0f2-f21c-467c-a947-4f8fc26d0f2e" providerId="ADAL" clId="{05368BF1-6F54-4ED3-A960-C453F4FF4B8C}" dt="2021-03-29T23:12:30.675" v="1033" actId="47"/>
        <pc:sldMkLst>
          <pc:docMk/>
          <pc:sldMk cId="3607193115" sldId="266"/>
        </pc:sldMkLst>
      </pc:sldChg>
      <pc:sldChg chg="del modCm">
        <pc:chgData name="Kory Thacher" userId="995eb0f2-f21c-467c-a947-4f8fc26d0f2e" providerId="ADAL" clId="{05368BF1-6F54-4ED3-A960-C453F4FF4B8C}" dt="2021-04-21T21:10:22.328" v="4948" actId="47"/>
        <pc:sldMkLst>
          <pc:docMk/>
          <pc:sldMk cId="2554072163" sldId="269"/>
        </pc:sldMkLst>
      </pc:sldChg>
      <pc:sldChg chg="del">
        <pc:chgData name="Kory Thacher" userId="995eb0f2-f21c-467c-a947-4f8fc26d0f2e" providerId="ADAL" clId="{05368BF1-6F54-4ED3-A960-C453F4FF4B8C}" dt="2021-04-21T21:07:56.824" v="4901" actId="47"/>
        <pc:sldMkLst>
          <pc:docMk/>
          <pc:sldMk cId="902849928" sldId="270"/>
        </pc:sldMkLst>
      </pc:sldChg>
      <pc:sldChg chg="del">
        <pc:chgData name="Kory Thacher" userId="995eb0f2-f21c-467c-a947-4f8fc26d0f2e" providerId="ADAL" clId="{05368BF1-6F54-4ED3-A960-C453F4FF4B8C}" dt="2021-04-21T21:07:56.824" v="4901" actId="47"/>
        <pc:sldMkLst>
          <pc:docMk/>
          <pc:sldMk cId="3226910080" sldId="276"/>
        </pc:sldMkLst>
      </pc:sldChg>
      <pc:sldChg chg="addSp delSp modSp mod modCm">
        <pc:chgData name="Kory Thacher" userId="995eb0f2-f21c-467c-a947-4f8fc26d0f2e" providerId="ADAL" clId="{05368BF1-6F54-4ED3-A960-C453F4FF4B8C}" dt="2021-04-21T21:09:16.184" v="4944"/>
        <pc:sldMkLst>
          <pc:docMk/>
          <pc:sldMk cId="4006278816" sldId="279"/>
        </pc:sldMkLst>
        <pc:spChg chg="del">
          <ac:chgData name="Kory Thacher" userId="995eb0f2-f21c-467c-a947-4f8fc26d0f2e" providerId="ADAL" clId="{05368BF1-6F54-4ED3-A960-C453F4FF4B8C}" dt="2021-04-21T21:08:40.198" v="4906" actId="478"/>
          <ac:spMkLst>
            <pc:docMk/>
            <pc:sldMk cId="4006278816" sldId="279"/>
            <ac:spMk id="2" creationId="{6CB60889-84C8-4CD7-9404-1DB0F0AF2FB8}"/>
          </ac:spMkLst>
        </pc:spChg>
        <pc:spChg chg="add del mod">
          <ac:chgData name="Kory Thacher" userId="995eb0f2-f21c-467c-a947-4f8fc26d0f2e" providerId="ADAL" clId="{05368BF1-6F54-4ED3-A960-C453F4FF4B8C}" dt="2021-04-21T21:08:59.377" v="4907" actId="478"/>
          <ac:spMkLst>
            <pc:docMk/>
            <pc:sldMk cId="4006278816" sldId="279"/>
            <ac:spMk id="5" creationId="{B2C95B4E-EB04-4818-8E8C-FC8C98B82406}"/>
          </ac:spMkLst>
        </pc:spChg>
        <pc:spChg chg="mod">
          <ac:chgData name="Kory Thacher" userId="995eb0f2-f21c-467c-a947-4f8fc26d0f2e" providerId="ADAL" clId="{05368BF1-6F54-4ED3-A960-C453F4FF4B8C}" dt="2021-04-21T21:09:06.760" v="4941" actId="1036"/>
          <ac:spMkLst>
            <pc:docMk/>
            <pc:sldMk cId="4006278816" sldId="279"/>
            <ac:spMk id="6" creationId="{937FA04D-A9D1-47B3-93F6-1257D434A8A4}"/>
          </ac:spMkLst>
        </pc:spChg>
      </pc:sldChg>
      <pc:sldChg chg="del modCm">
        <pc:chgData name="Kory Thacher" userId="995eb0f2-f21c-467c-a947-4f8fc26d0f2e" providerId="ADAL" clId="{05368BF1-6F54-4ED3-A960-C453F4FF4B8C}" dt="2021-04-21T21:08:14.650" v="4903" actId="47"/>
        <pc:sldMkLst>
          <pc:docMk/>
          <pc:sldMk cId="2233136314" sldId="280"/>
        </pc:sldMkLst>
      </pc:sldChg>
      <pc:sldChg chg="addSp delSp modSp add mod ord delAnim modAnim modCm modNotesTx">
        <pc:chgData name="Kory Thacher" userId="995eb0f2-f21c-467c-a947-4f8fc26d0f2e" providerId="ADAL" clId="{05368BF1-6F54-4ED3-A960-C453F4FF4B8C}" dt="2021-05-05T23:32:47.477" v="5485" actId="20577"/>
        <pc:sldMkLst>
          <pc:docMk/>
          <pc:sldMk cId="313771798" sldId="284"/>
        </pc:sldMkLst>
        <pc:spChg chg="mod">
          <ac:chgData name="Kory Thacher" userId="995eb0f2-f21c-467c-a947-4f8fc26d0f2e" providerId="ADAL" clId="{05368BF1-6F54-4ED3-A960-C453F4FF4B8C}" dt="2021-03-31T16:50:04.310" v="3015" actId="6549"/>
          <ac:spMkLst>
            <pc:docMk/>
            <pc:sldMk cId="313771798" sldId="284"/>
            <ac:spMk id="4" creationId="{4454455B-A872-44D2-BE22-1517001CDA92}"/>
          </ac:spMkLst>
        </pc:spChg>
        <pc:spChg chg="add mod">
          <ac:chgData name="Kory Thacher" userId="995eb0f2-f21c-467c-a947-4f8fc26d0f2e" providerId="ADAL" clId="{05368BF1-6F54-4ED3-A960-C453F4FF4B8C}" dt="2021-03-31T17:26:01.351" v="4268" actId="17032"/>
          <ac:spMkLst>
            <pc:docMk/>
            <pc:sldMk cId="313771798" sldId="284"/>
            <ac:spMk id="7" creationId="{D9C2F83D-6F6E-4B35-868E-D1B928A960DF}"/>
          </ac:spMkLst>
        </pc:spChg>
        <pc:spChg chg="del mod">
          <ac:chgData name="Kory Thacher" userId="995eb0f2-f21c-467c-a947-4f8fc26d0f2e" providerId="ADAL" clId="{05368BF1-6F54-4ED3-A960-C453F4FF4B8C}" dt="2021-03-31T16:52:28.093" v="3184" actId="478"/>
          <ac:spMkLst>
            <pc:docMk/>
            <pc:sldMk cId="313771798" sldId="284"/>
            <ac:spMk id="12" creationId="{1EE5C80A-18AF-4202-A9E9-7837BE549FE4}"/>
          </ac:spMkLst>
        </pc:spChg>
        <pc:spChg chg="mod">
          <ac:chgData name="Kory Thacher" userId="995eb0f2-f21c-467c-a947-4f8fc26d0f2e" providerId="ADAL" clId="{05368BF1-6F54-4ED3-A960-C453F4FF4B8C}" dt="2021-03-31T17:27:02.263" v="4283" actId="14100"/>
          <ac:spMkLst>
            <pc:docMk/>
            <pc:sldMk cId="313771798" sldId="284"/>
            <ac:spMk id="13" creationId="{C90CA1EA-BEB4-49E6-8AB3-AE4F938BF724}"/>
          </ac:spMkLst>
        </pc:spChg>
        <pc:spChg chg="del mod">
          <ac:chgData name="Kory Thacher" userId="995eb0f2-f21c-467c-a947-4f8fc26d0f2e" providerId="ADAL" clId="{05368BF1-6F54-4ED3-A960-C453F4FF4B8C}" dt="2021-03-31T16:50:14.069" v="3020" actId="478"/>
          <ac:spMkLst>
            <pc:docMk/>
            <pc:sldMk cId="313771798" sldId="284"/>
            <ac:spMk id="14" creationId="{0BCE0F7E-153D-4360-A6B9-CCCD4DE68AE9}"/>
          </ac:spMkLst>
        </pc:spChg>
        <pc:spChg chg="add mod">
          <ac:chgData name="Kory Thacher" userId="995eb0f2-f21c-467c-a947-4f8fc26d0f2e" providerId="ADAL" clId="{05368BF1-6F54-4ED3-A960-C453F4FF4B8C}" dt="2021-03-31T17:27:18.468" v="4284" actId="14100"/>
          <ac:spMkLst>
            <pc:docMk/>
            <pc:sldMk cId="313771798" sldId="284"/>
            <ac:spMk id="19" creationId="{AC11D4B4-5047-4660-BE22-E3445A0E1D58}"/>
          </ac:spMkLst>
        </pc:spChg>
        <pc:spChg chg="del">
          <ac:chgData name="Kory Thacher" userId="995eb0f2-f21c-467c-a947-4f8fc26d0f2e" providerId="ADAL" clId="{05368BF1-6F54-4ED3-A960-C453F4FF4B8C}" dt="2021-03-31T16:50:10.022" v="3016" actId="478"/>
          <ac:spMkLst>
            <pc:docMk/>
            <pc:sldMk cId="313771798" sldId="284"/>
            <ac:spMk id="21" creationId="{4953E297-5A01-414A-8EE2-2008302661A0}"/>
          </ac:spMkLst>
        </pc:spChg>
        <pc:spChg chg="del">
          <ac:chgData name="Kory Thacher" userId="995eb0f2-f21c-467c-a947-4f8fc26d0f2e" providerId="ADAL" clId="{05368BF1-6F54-4ED3-A960-C453F4FF4B8C}" dt="2021-03-31T16:50:28.541" v="3025" actId="478"/>
          <ac:spMkLst>
            <pc:docMk/>
            <pc:sldMk cId="313771798" sldId="284"/>
            <ac:spMk id="22" creationId="{49694D16-4FFF-4DF1-8DFF-74F8639FC4C3}"/>
          </ac:spMkLst>
        </pc:spChg>
        <pc:spChg chg="add mod">
          <ac:chgData name="Kory Thacher" userId="995eb0f2-f21c-467c-a947-4f8fc26d0f2e" providerId="ADAL" clId="{05368BF1-6F54-4ED3-A960-C453F4FF4B8C}" dt="2021-03-31T16:55:20.836" v="3312" actId="1036"/>
          <ac:spMkLst>
            <pc:docMk/>
            <pc:sldMk cId="313771798" sldId="284"/>
            <ac:spMk id="24" creationId="{E2F2CBF1-DCB2-4E8A-97D4-B353E8917C68}"/>
          </ac:spMkLst>
        </pc:spChg>
        <pc:spChg chg="del">
          <ac:chgData name="Kory Thacher" userId="995eb0f2-f21c-467c-a947-4f8fc26d0f2e" providerId="ADAL" clId="{05368BF1-6F54-4ED3-A960-C453F4FF4B8C}" dt="2021-03-31T16:50:11.341" v="3017" actId="478"/>
          <ac:spMkLst>
            <pc:docMk/>
            <pc:sldMk cId="313771798" sldId="284"/>
            <ac:spMk id="26" creationId="{EFCFA902-1CCC-4E45-B228-A1D51E0D3825}"/>
          </ac:spMkLst>
        </pc:spChg>
        <pc:spChg chg="mod">
          <ac:chgData name="Kory Thacher" userId="995eb0f2-f21c-467c-a947-4f8fc26d0f2e" providerId="ADAL" clId="{05368BF1-6F54-4ED3-A960-C453F4FF4B8C}" dt="2021-03-31T16:57:15.370" v="3326" actId="1076"/>
          <ac:spMkLst>
            <pc:docMk/>
            <pc:sldMk cId="313771798" sldId="284"/>
            <ac:spMk id="27" creationId="{016005C0-E67C-4098-A87D-A7C77C5A68E4}"/>
          </ac:spMkLst>
        </pc:spChg>
        <pc:spChg chg="add mod">
          <ac:chgData name="Kory Thacher" userId="995eb0f2-f21c-467c-a947-4f8fc26d0f2e" providerId="ADAL" clId="{05368BF1-6F54-4ED3-A960-C453F4FF4B8C}" dt="2021-03-31T16:55:20.836" v="3312" actId="1036"/>
          <ac:spMkLst>
            <pc:docMk/>
            <pc:sldMk cId="313771798" sldId="284"/>
            <ac:spMk id="28" creationId="{AD018412-CBDE-4398-9747-A41E0E3C7007}"/>
          </ac:spMkLst>
        </pc:spChg>
        <pc:spChg chg="del">
          <ac:chgData name="Kory Thacher" userId="995eb0f2-f21c-467c-a947-4f8fc26d0f2e" providerId="ADAL" clId="{05368BF1-6F54-4ED3-A960-C453F4FF4B8C}" dt="2021-03-31T16:50:21.741" v="3024" actId="478"/>
          <ac:spMkLst>
            <pc:docMk/>
            <pc:sldMk cId="313771798" sldId="284"/>
            <ac:spMk id="30" creationId="{7E6C823C-DB1E-4770-B4ED-892877B54352}"/>
          </ac:spMkLst>
        </pc:spChg>
        <pc:spChg chg="add mod">
          <ac:chgData name="Kory Thacher" userId="995eb0f2-f21c-467c-a947-4f8fc26d0f2e" providerId="ADAL" clId="{05368BF1-6F54-4ED3-A960-C453F4FF4B8C}" dt="2021-03-31T16:57:28.999" v="3328" actId="14100"/>
          <ac:spMkLst>
            <pc:docMk/>
            <pc:sldMk cId="313771798" sldId="284"/>
            <ac:spMk id="31" creationId="{CEFD42E2-655D-40EC-9E42-3D3B250F5C31}"/>
          </ac:spMkLst>
        </pc:spChg>
        <pc:spChg chg="add mod">
          <ac:chgData name="Kory Thacher" userId="995eb0f2-f21c-467c-a947-4f8fc26d0f2e" providerId="ADAL" clId="{05368BF1-6F54-4ED3-A960-C453F4FF4B8C}" dt="2021-03-31T17:26:38.729" v="4279" actId="1076"/>
          <ac:spMkLst>
            <pc:docMk/>
            <pc:sldMk cId="313771798" sldId="284"/>
            <ac:spMk id="32" creationId="{6D2C98CB-AEA2-4868-9AAF-28AE41D4E806}"/>
          </ac:spMkLst>
        </pc:spChg>
        <pc:spChg chg="add mod">
          <ac:chgData name="Kory Thacher" userId="995eb0f2-f21c-467c-a947-4f8fc26d0f2e" providerId="ADAL" clId="{05368BF1-6F54-4ED3-A960-C453F4FF4B8C}" dt="2021-03-31T17:26:09.443" v="4274" actId="20577"/>
          <ac:spMkLst>
            <pc:docMk/>
            <pc:sldMk cId="313771798" sldId="284"/>
            <ac:spMk id="33" creationId="{D01E1C8F-56C6-44E6-A022-E249DC532CC0}"/>
          </ac:spMkLst>
        </pc:spChg>
        <pc:spChg chg="add mod">
          <ac:chgData name="Kory Thacher" userId="995eb0f2-f21c-467c-a947-4f8fc26d0f2e" providerId="ADAL" clId="{05368BF1-6F54-4ED3-A960-C453F4FF4B8C}" dt="2021-03-31T17:26:18.013" v="4278" actId="20577"/>
          <ac:spMkLst>
            <pc:docMk/>
            <pc:sldMk cId="313771798" sldId="284"/>
            <ac:spMk id="34" creationId="{1F9C8780-470B-474A-B027-1C4E0C589810}"/>
          </ac:spMkLst>
        </pc:spChg>
        <pc:picChg chg="del">
          <ac:chgData name="Kory Thacher" userId="995eb0f2-f21c-467c-a947-4f8fc26d0f2e" providerId="ADAL" clId="{05368BF1-6F54-4ED3-A960-C453F4FF4B8C}" dt="2021-03-31T16:50:18.964" v="3023" actId="478"/>
          <ac:picMkLst>
            <pc:docMk/>
            <pc:sldMk cId="313771798" sldId="284"/>
            <ac:picMk id="29" creationId="{22D5097A-01C4-40D6-84BD-CF13C060255D}"/>
          </ac:picMkLst>
        </pc:picChg>
        <pc:cxnChg chg="add del">
          <ac:chgData name="Kory Thacher" userId="995eb0f2-f21c-467c-a947-4f8fc26d0f2e" providerId="ADAL" clId="{05368BF1-6F54-4ED3-A960-C453F4FF4B8C}" dt="2021-03-31T16:56:14.256" v="3315" actId="11529"/>
          <ac:cxnSpMkLst>
            <pc:docMk/>
            <pc:sldMk cId="313771798" sldId="284"/>
            <ac:cxnSpMk id="6" creationId="{071EB442-DD1C-4710-A8FF-00592D2EA01F}"/>
          </ac:cxnSpMkLst>
        </pc:cxnChg>
        <pc:cxnChg chg="mod">
          <ac:chgData name="Kory Thacher" userId="995eb0f2-f21c-467c-a947-4f8fc26d0f2e" providerId="ADAL" clId="{05368BF1-6F54-4ED3-A960-C453F4FF4B8C}" dt="2021-03-31T16:55:20.836" v="3312" actId="1036"/>
          <ac:cxnSpMkLst>
            <pc:docMk/>
            <pc:sldMk cId="313771798" sldId="284"/>
            <ac:cxnSpMk id="8" creationId="{E08F77A0-9E25-46FE-AFA1-FF4AA40BB856}"/>
          </ac:cxnSpMkLst>
        </pc:cxnChg>
        <pc:cxnChg chg="del">
          <ac:chgData name="Kory Thacher" userId="995eb0f2-f21c-467c-a947-4f8fc26d0f2e" providerId="ADAL" clId="{05368BF1-6F54-4ED3-A960-C453F4FF4B8C}" dt="2021-03-31T16:50:14.836" v="3021" actId="478"/>
          <ac:cxnSpMkLst>
            <pc:docMk/>
            <pc:sldMk cId="313771798" sldId="284"/>
            <ac:cxnSpMk id="10" creationId="{CB3C5D5A-C495-4CBE-B718-6AB09E360CF0}"/>
          </ac:cxnSpMkLst>
        </pc:cxnChg>
        <pc:cxnChg chg="mod">
          <ac:chgData name="Kory Thacher" userId="995eb0f2-f21c-467c-a947-4f8fc26d0f2e" providerId="ADAL" clId="{05368BF1-6F54-4ED3-A960-C453F4FF4B8C}" dt="2021-03-31T16:55:35.159" v="3313" actId="208"/>
          <ac:cxnSpMkLst>
            <pc:docMk/>
            <pc:sldMk cId="313771798" sldId="284"/>
            <ac:cxnSpMk id="15" creationId="{A018E381-3F97-4F30-BDFD-7ADB9C1A7E90}"/>
          </ac:cxnSpMkLst>
        </pc:cxnChg>
        <pc:cxnChg chg="mod">
          <ac:chgData name="Kory Thacher" userId="995eb0f2-f21c-467c-a947-4f8fc26d0f2e" providerId="ADAL" clId="{05368BF1-6F54-4ED3-A960-C453F4FF4B8C}" dt="2021-03-31T16:56:33.889" v="3316" actId="208"/>
          <ac:cxnSpMkLst>
            <pc:docMk/>
            <pc:sldMk cId="313771798" sldId="284"/>
            <ac:cxnSpMk id="17" creationId="{FE144206-BBF3-484D-807E-B505C0B88E1C}"/>
          </ac:cxnSpMkLst>
        </pc:cxnChg>
        <pc:cxnChg chg="del">
          <ac:chgData name="Kory Thacher" userId="995eb0f2-f21c-467c-a947-4f8fc26d0f2e" providerId="ADAL" clId="{05368BF1-6F54-4ED3-A960-C453F4FF4B8C}" dt="2021-03-31T16:50:12.309" v="3018" actId="478"/>
          <ac:cxnSpMkLst>
            <pc:docMk/>
            <pc:sldMk cId="313771798" sldId="284"/>
            <ac:cxnSpMk id="18" creationId="{5BA24C58-DD1B-4E7F-8775-D9BEAC5783A5}"/>
          </ac:cxnSpMkLst>
        </pc:cxnChg>
        <pc:cxnChg chg="mod">
          <ac:chgData name="Kory Thacher" userId="995eb0f2-f21c-467c-a947-4f8fc26d0f2e" providerId="ADAL" clId="{05368BF1-6F54-4ED3-A960-C453F4FF4B8C}" dt="2021-03-31T16:55:35.159" v="3313" actId="208"/>
          <ac:cxnSpMkLst>
            <pc:docMk/>
            <pc:sldMk cId="313771798" sldId="284"/>
            <ac:cxnSpMk id="20" creationId="{02B0658F-7DFC-4C8F-BAE0-5D0950828929}"/>
          </ac:cxnSpMkLst>
        </pc:cxnChg>
        <pc:cxnChg chg="add del mod">
          <ac:chgData name="Kory Thacher" userId="995eb0f2-f21c-467c-a947-4f8fc26d0f2e" providerId="ADAL" clId="{05368BF1-6F54-4ED3-A960-C453F4FF4B8C}" dt="2021-03-31T16:51:53.628" v="3151" actId="478"/>
          <ac:cxnSpMkLst>
            <pc:docMk/>
            <pc:sldMk cId="313771798" sldId="284"/>
            <ac:cxnSpMk id="23" creationId="{654C1355-9181-4919-806F-E79478D659BE}"/>
          </ac:cxnSpMkLst>
        </pc:cxnChg>
        <pc:cxnChg chg="del">
          <ac:chgData name="Kory Thacher" userId="995eb0f2-f21c-467c-a947-4f8fc26d0f2e" providerId="ADAL" clId="{05368BF1-6F54-4ED3-A960-C453F4FF4B8C}" dt="2021-03-31T16:50:17.355" v="3022" actId="478"/>
          <ac:cxnSpMkLst>
            <pc:docMk/>
            <pc:sldMk cId="313771798" sldId="284"/>
            <ac:cxnSpMk id="25" creationId="{88F8D185-82AF-425F-9E06-14A5E0E948DD}"/>
          </ac:cxnSpMkLst>
        </pc:cxnChg>
      </pc:sldChg>
      <pc:sldChg chg="modSp mod ord">
        <pc:chgData name="Kory Thacher" userId="995eb0f2-f21c-467c-a947-4f8fc26d0f2e" providerId="ADAL" clId="{05368BF1-6F54-4ED3-A960-C453F4FF4B8C}" dt="2021-05-05T23:26:56.618" v="4973"/>
        <pc:sldMkLst>
          <pc:docMk/>
          <pc:sldMk cId="1338338796" sldId="287"/>
        </pc:sldMkLst>
        <pc:spChg chg="mod">
          <ac:chgData name="Kory Thacher" userId="995eb0f2-f21c-467c-a947-4f8fc26d0f2e" providerId="ADAL" clId="{05368BF1-6F54-4ED3-A960-C453F4FF4B8C}" dt="2021-05-05T23:26:34.578" v="4967" actId="5793"/>
          <ac:spMkLst>
            <pc:docMk/>
            <pc:sldMk cId="1338338796" sldId="287"/>
            <ac:spMk id="3" creationId="{4897B8F8-26DF-42FB-ACB0-59929F1C2344}"/>
          </ac:spMkLst>
        </pc:spChg>
      </pc:sldChg>
      <pc:sldChg chg="ord">
        <pc:chgData name="Kory Thacher" userId="995eb0f2-f21c-467c-a947-4f8fc26d0f2e" providerId="ADAL" clId="{05368BF1-6F54-4ED3-A960-C453F4FF4B8C}" dt="2021-03-29T19:15:37.603" v="282"/>
        <pc:sldMkLst>
          <pc:docMk/>
          <pc:sldMk cId="815115366" sldId="291"/>
        </pc:sldMkLst>
      </pc:sldChg>
      <pc:sldChg chg="del">
        <pc:chgData name="Kory Thacher" userId="995eb0f2-f21c-467c-a947-4f8fc26d0f2e" providerId="ADAL" clId="{05368BF1-6F54-4ED3-A960-C453F4FF4B8C}" dt="2021-04-21T21:07:56.824" v="4901" actId="47"/>
        <pc:sldMkLst>
          <pc:docMk/>
          <pc:sldMk cId="385305738" sldId="292"/>
        </pc:sldMkLst>
      </pc:sldChg>
      <pc:sldChg chg="modSp add mod ord">
        <pc:chgData name="Kory Thacher" userId="995eb0f2-f21c-467c-a947-4f8fc26d0f2e" providerId="ADAL" clId="{05368BF1-6F54-4ED3-A960-C453F4FF4B8C}" dt="2021-05-05T23:26:50.120" v="4971"/>
        <pc:sldMkLst>
          <pc:docMk/>
          <pc:sldMk cId="3498628492" sldId="293"/>
        </pc:sldMkLst>
        <pc:spChg chg="mod">
          <ac:chgData name="Kory Thacher" userId="995eb0f2-f21c-467c-a947-4f8fc26d0f2e" providerId="ADAL" clId="{05368BF1-6F54-4ED3-A960-C453F4FF4B8C}" dt="2021-05-05T23:26:07.091" v="4953" actId="20577"/>
          <ac:spMkLst>
            <pc:docMk/>
            <pc:sldMk cId="3498628492" sldId="293"/>
            <ac:spMk id="3" creationId="{5B73110F-3F7F-446D-87F9-219F6D0DBF1D}"/>
          </ac:spMkLst>
        </pc:spChg>
        <pc:spChg chg="mod">
          <ac:chgData name="Kory Thacher" userId="995eb0f2-f21c-467c-a947-4f8fc26d0f2e" providerId="ADAL" clId="{05368BF1-6F54-4ED3-A960-C453F4FF4B8C}" dt="2021-05-05T23:26:27.235" v="4965" actId="6549"/>
          <ac:spMkLst>
            <pc:docMk/>
            <pc:sldMk cId="3498628492" sldId="293"/>
            <ac:spMk id="9" creationId="{8A5A0421-2A84-4A4A-868E-9AF5B6DC72EB}"/>
          </ac:spMkLst>
        </pc:spChg>
      </pc:sldChg>
      <pc:sldChg chg="del ord addCm modCm">
        <pc:chgData name="Kory Thacher" userId="995eb0f2-f21c-467c-a947-4f8fc26d0f2e" providerId="ADAL" clId="{05368BF1-6F54-4ED3-A960-C453F4FF4B8C}" dt="2021-04-21T21:07:13.003" v="4897" actId="47"/>
        <pc:sldMkLst>
          <pc:docMk/>
          <pc:sldMk cId="1092563474" sldId="294"/>
        </pc:sldMkLst>
      </pc:sldChg>
      <pc:sldChg chg="addCm modCm">
        <pc:chgData name="Kory Thacher" userId="995eb0f2-f21c-467c-a947-4f8fc26d0f2e" providerId="ADAL" clId="{05368BF1-6F54-4ED3-A960-C453F4FF4B8C}" dt="2021-04-21T21:09:51.918" v="4945"/>
        <pc:sldMkLst>
          <pc:docMk/>
          <pc:sldMk cId="953258012" sldId="298"/>
        </pc:sldMkLst>
      </pc:sldChg>
      <pc:sldChg chg="modSp mod">
        <pc:chgData name="Kory Thacher" userId="995eb0f2-f21c-467c-a947-4f8fc26d0f2e" providerId="ADAL" clId="{05368BF1-6F54-4ED3-A960-C453F4FF4B8C}" dt="2021-03-29T19:47:46.685" v="978" actId="113"/>
        <pc:sldMkLst>
          <pc:docMk/>
          <pc:sldMk cId="1602068736" sldId="299"/>
        </pc:sldMkLst>
        <pc:graphicFrameChg chg="mod modGraphic">
          <ac:chgData name="Kory Thacher" userId="995eb0f2-f21c-467c-a947-4f8fc26d0f2e" providerId="ADAL" clId="{05368BF1-6F54-4ED3-A960-C453F4FF4B8C}" dt="2021-03-29T19:47:46.685" v="978" actId="113"/>
          <ac:graphicFrameMkLst>
            <pc:docMk/>
            <pc:sldMk cId="1602068736" sldId="299"/>
            <ac:graphicFrameMk id="7" creationId="{7783C770-6205-4D5B-A845-381FDFAC6C94}"/>
          </ac:graphicFrameMkLst>
        </pc:graphicFrameChg>
      </pc:sldChg>
      <pc:sldChg chg="del ord addCm">
        <pc:chgData name="Kory Thacher" userId="995eb0f2-f21c-467c-a947-4f8fc26d0f2e" providerId="ADAL" clId="{05368BF1-6F54-4ED3-A960-C453F4FF4B8C}" dt="2021-03-29T23:10:31.150" v="1003" actId="47"/>
        <pc:sldMkLst>
          <pc:docMk/>
          <pc:sldMk cId="2135647218" sldId="300"/>
        </pc:sldMkLst>
      </pc:sldChg>
      <pc:sldChg chg="addSp delSp modSp mod modCm modNotesTx">
        <pc:chgData name="Kory Thacher" userId="995eb0f2-f21c-467c-a947-4f8fc26d0f2e" providerId="ADAL" clId="{05368BF1-6F54-4ED3-A960-C453F4FF4B8C}" dt="2021-05-05T21:16:34.485" v="4950"/>
        <pc:sldMkLst>
          <pc:docMk/>
          <pc:sldMk cId="2567317455" sldId="301"/>
        </pc:sldMkLst>
        <pc:spChg chg="add del mod">
          <ac:chgData name="Kory Thacher" userId="995eb0f2-f21c-467c-a947-4f8fc26d0f2e" providerId="ADAL" clId="{05368BF1-6F54-4ED3-A960-C453F4FF4B8C}" dt="2021-03-31T17:52:46.329" v="4746" actId="12084"/>
          <ac:spMkLst>
            <pc:docMk/>
            <pc:sldMk cId="2567317455" sldId="301"/>
            <ac:spMk id="2" creationId="{515E5904-1DAF-462F-A1BB-5E6CA27E11A0}"/>
          </ac:spMkLst>
        </pc:spChg>
        <pc:graphicFrameChg chg="add mod">
          <ac:chgData name="Kory Thacher" userId="995eb0f2-f21c-467c-a947-4f8fc26d0f2e" providerId="ADAL" clId="{05368BF1-6F54-4ED3-A960-C453F4FF4B8C}" dt="2021-03-31T18:00:48.827" v="4886" actId="113"/>
          <ac:graphicFrameMkLst>
            <pc:docMk/>
            <pc:sldMk cId="2567317455" sldId="301"/>
            <ac:graphicFrameMk id="3" creationId="{C1D7D4C2-AB8E-4FC9-821A-ACF7B0BC3BFC}"/>
          </ac:graphicFrameMkLst>
        </pc:graphicFrameChg>
        <pc:graphicFrameChg chg="del mod">
          <ac:chgData name="Kory Thacher" userId="995eb0f2-f21c-467c-a947-4f8fc26d0f2e" providerId="ADAL" clId="{05368BF1-6F54-4ED3-A960-C453F4FF4B8C}" dt="2021-03-31T17:05:24.968" v="4233" actId="11529"/>
          <ac:graphicFrameMkLst>
            <pc:docMk/>
            <pc:sldMk cId="2567317455" sldId="301"/>
            <ac:graphicFrameMk id="9" creationId="{4E15B5D6-0673-4365-B6C9-E2855129C6C1}"/>
          </ac:graphicFrameMkLst>
        </pc:graphicFrameChg>
      </pc:sldChg>
      <pc:sldChg chg="modSp mod">
        <pc:chgData name="Kory Thacher" userId="995eb0f2-f21c-467c-a947-4f8fc26d0f2e" providerId="ADAL" clId="{05368BF1-6F54-4ED3-A960-C453F4FF4B8C}" dt="2021-03-31T16:36:48.086" v="1917" actId="255"/>
        <pc:sldMkLst>
          <pc:docMk/>
          <pc:sldMk cId="2045087060" sldId="302"/>
        </pc:sldMkLst>
        <pc:graphicFrameChg chg="mod">
          <ac:chgData name="Kory Thacher" userId="995eb0f2-f21c-467c-a947-4f8fc26d0f2e" providerId="ADAL" clId="{05368BF1-6F54-4ED3-A960-C453F4FF4B8C}" dt="2021-03-31T16:36:48.086" v="1917" actId="255"/>
          <ac:graphicFrameMkLst>
            <pc:docMk/>
            <pc:sldMk cId="2045087060" sldId="302"/>
            <ac:graphicFrameMk id="9" creationId="{4E15B5D6-0673-4365-B6C9-E2855129C6C1}"/>
          </ac:graphicFrameMkLst>
        </pc:graphicFrameChg>
      </pc:sldChg>
      <pc:sldChg chg="addSp delSp modSp del mod modNotesTx">
        <pc:chgData name="Kory Thacher" userId="995eb0f2-f21c-467c-a947-4f8fc26d0f2e" providerId="ADAL" clId="{05368BF1-6F54-4ED3-A960-C453F4FF4B8C}" dt="2021-03-31T16:57:49.973" v="3331" actId="47"/>
        <pc:sldMkLst>
          <pc:docMk/>
          <pc:sldMk cId="3288015165" sldId="303"/>
        </pc:sldMkLst>
        <pc:spChg chg="add del mod">
          <ac:chgData name="Kory Thacher" userId="995eb0f2-f21c-467c-a947-4f8fc26d0f2e" providerId="ADAL" clId="{05368BF1-6F54-4ED3-A960-C453F4FF4B8C}" dt="2021-03-31T16:42:06.227" v="2863" actId="478"/>
          <ac:spMkLst>
            <pc:docMk/>
            <pc:sldMk cId="3288015165" sldId="303"/>
            <ac:spMk id="3" creationId="{5DE99628-BB14-4529-AD30-F97E32E1F270}"/>
          </ac:spMkLst>
        </pc:spChg>
        <pc:spChg chg="mod">
          <ac:chgData name="Kory Thacher" userId="995eb0f2-f21c-467c-a947-4f8fc26d0f2e" providerId="ADAL" clId="{05368BF1-6F54-4ED3-A960-C453F4FF4B8C}" dt="2021-03-31T16:44:45.828" v="2985" actId="20577"/>
          <ac:spMkLst>
            <pc:docMk/>
            <pc:sldMk cId="3288015165" sldId="303"/>
            <ac:spMk id="4" creationId="{518B9A09-4177-462E-9B5C-328B2F3F0978}"/>
          </ac:spMkLst>
        </pc:spChg>
        <pc:spChg chg="del">
          <ac:chgData name="Kory Thacher" userId="995eb0f2-f21c-467c-a947-4f8fc26d0f2e" providerId="ADAL" clId="{05368BF1-6F54-4ED3-A960-C453F4FF4B8C}" dt="2021-03-31T16:42:03.967" v="2862" actId="478"/>
          <ac:spMkLst>
            <pc:docMk/>
            <pc:sldMk cId="3288015165" sldId="303"/>
            <ac:spMk id="6" creationId="{3F9015B7-F6A6-4CC8-BFA4-1F852508FB2E}"/>
          </ac:spMkLst>
        </pc:spChg>
        <pc:picChg chg="add del mod">
          <ac:chgData name="Kory Thacher" userId="995eb0f2-f21c-467c-a947-4f8fc26d0f2e" providerId="ADAL" clId="{05368BF1-6F54-4ED3-A960-C453F4FF4B8C}" dt="2021-03-31T16:42:42.747" v="2917" actId="478"/>
          <ac:picMkLst>
            <pc:docMk/>
            <pc:sldMk cId="3288015165" sldId="303"/>
            <ac:picMk id="1026" creationId="{B4236085-4D6F-4942-8EEA-189804B2FFFD}"/>
          </ac:picMkLst>
        </pc:picChg>
        <pc:picChg chg="add del mod">
          <ac:chgData name="Kory Thacher" userId="995eb0f2-f21c-467c-a947-4f8fc26d0f2e" providerId="ADAL" clId="{05368BF1-6F54-4ED3-A960-C453F4FF4B8C}" dt="2021-03-31T16:42:42.747" v="2917" actId="478"/>
          <ac:picMkLst>
            <pc:docMk/>
            <pc:sldMk cId="3288015165" sldId="303"/>
            <ac:picMk id="1028" creationId="{051B4C90-FCF4-471C-AEDF-C8387DF55355}"/>
          </ac:picMkLst>
        </pc:picChg>
        <pc:picChg chg="add del mod">
          <ac:chgData name="Kory Thacher" userId="995eb0f2-f21c-467c-a947-4f8fc26d0f2e" providerId="ADAL" clId="{05368BF1-6F54-4ED3-A960-C453F4FF4B8C}" dt="2021-03-31T16:42:51.563" v="2919" actId="478"/>
          <ac:picMkLst>
            <pc:docMk/>
            <pc:sldMk cId="3288015165" sldId="303"/>
            <ac:picMk id="1030" creationId="{79AE8E58-6BEC-4560-B48D-387D874CBC22}"/>
          </ac:picMkLst>
        </pc:picChg>
        <pc:picChg chg="add del mod">
          <ac:chgData name="Kory Thacher" userId="995eb0f2-f21c-467c-a947-4f8fc26d0f2e" providerId="ADAL" clId="{05368BF1-6F54-4ED3-A960-C453F4FF4B8C}" dt="2021-03-31T16:44:49.227" v="2987" actId="478"/>
          <ac:picMkLst>
            <pc:docMk/>
            <pc:sldMk cId="3288015165" sldId="303"/>
            <ac:picMk id="1032" creationId="{A7E9EEE0-68D5-429E-AD6D-4A4D07712562}"/>
          </ac:picMkLst>
        </pc:picChg>
        <pc:picChg chg="add del mod">
          <ac:chgData name="Kory Thacher" userId="995eb0f2-f21c-467c-a947-4f8fc26d0f2e" providerId="ADAL" clId="{05368BF1-6F54-4ED3-A960-C453F4FF4B8C}" dt="2021-03-31T16:43:11.144" v="2924"/>
          <ac:picMkLst>
            <pc:docMk/>
            <pc:sldMk cId="3288015165" sldId="303"/>
            <ac:picMk id="1034" creationId="{527D88AE-F294-4163-A8CA-B3445940A4E4}"/>
          </ac:picMkLst>
        </pc:picChg>
        <pc:picChg chg="add del mod">
          <ac:chgData name="Kory Thacher" userId="995eb0f2-f21c-467c-a947-4f8fc26d0f2e" providerId="ADAL" clId="{05368BF1-6F54-4ED3-A960-C453F4FF4B8C}" dt="2021-03-31T16:43:14.292" v="2926"/>
          <ac:picMkLst>
            <pc:docMk/>
            <pc:sldMk cId="3288015165" sldId="303"/>
            <ac:picMk id="1036" creationId="{B5EF209F-6D3B-4A73-9D75-D2B11CECA352}"/>
          </ac:picMkLst>
        </pc:picChg>
        <pc:picChg chg="add del mod">
          <ac:chgData name="Kory Thacher" userId="995eb0f2-f21c-467c-a947-4f8fc26d0f2e" providerId="ADAL" clId="{05368BF1-6F54-4ED3-A960-C453F4FF4B8C}" dt="2021-03-31T16:44:48.460" v="2986" actId="478"/>
          <ac:picMkLst>
            <pc:docMk/>
            <pc:sldMk cId="3288015165" sldId="303"/>
            <ac:picMk id="1038" creationId="{66CBA8B1-CAF5-4331-B5F7-E0E7CAD251BC}"/>
          </ac:picMkLst>
        </pc:picChg>
      </pc:sldChg>
      <pc:sldChg chg="addSp delSp modSp mod modCm modNotesTx">
        <pc:chgData name="Kory Thacher" userId="995eb0f2-f21c-467c-a947-4f8fc26d0f2e" providerId="ADAL" clId="{05368BF1-6F54-4ED3-A960-C453F4FF4B8C}" dt="2021-05-05T23:41:35.629" v="5501"/>
        <pc:sldMkLst>
          <pc:docMk/>
          <pc:sldMk cId="1473393101" sldId="304"/>
        </pc:sldMkLst>
        <pc:spChg chg="del mod">
          <ac:chgData name="Kory Thacher" userId="995eb0f2-f21c-467c-a947-4f8fc26d0f2e" providerId="ADAL" clId="{05368BF1-6F54-4ED3-A960-C453F4FF4B8C}" dt="2021-03-31T16:13:41.114" v="1065" actId="478"/>
          <ac:spMkLst>
            <pc:docMk/>
            <pc:sldMk cId="1473393101" sldId="304"/>
            <ac:spMk id="3" creationId="{2FC4CD2E-21DA-48EC-B1DA-16CCE4B2D41E}"/>
          </ac:spMkLst>
        </pc:spChg>
        <pc:spChg chg="mod">
          <ac:chgData name="Kory Thacher" userId="995eb0f2-f21c-467c-a947-4f8fc26d0f2e" providerId="ADAL" clId="{05368BF1-6F54-4ED3-A960-C453F4FF4B8C}" dt="2021-03-31T16:21:46.749" v="1335" actId="20577"/>
          <ac:spMkLst>
            <pc:docMk/>
            <pc:sldMk cId="1473393101" sldId="304"/>
            <ac:spMk id="4" creationId="{518B9A09-4177-462E-9B5C-328B2F3F0978}"/>
          </ac:spMkLst>
        </pc:spChg>
        <pc:spChg chg="add del mod">
          <ac:chgData name="Kory Thacher" userId="995eb0f2-f21c-467c-a947-4f8fc26d0f2e" providerId="ADAL" clId="{05368BF1-6F54-4ED3-A960-C453F4FF4B8C}" dt="2021-03-31T16:14:13.932" v="1066" actId="478"/>
          <ac:spMkLst>
            <pc:docMk/>
            <pc:sldMk cId="1473393101" sldId="304"/>
            <ac:spMk id="6" creationId="{18AC2A70-2D4B-4775-B650-24573F0F63EA}"/>
          </ac:spMkLst>
        </pc:spChg>
        <pc:graphicFrameChg chg="add mod ord modGraphic">
          <ac:chgData name="Kory Thacher" userId="995eb0f2-f21c-467c-a947-4f8fc26d0f2e" providerId="ADAL" clId="{05368BF1-6F54-4ED3-A960-C453F4FF4B8C}" dt="2021-03-31T16:37:01.293" v="1920" actId="404"/>
          <ac:graphicFrameMkLst>
            <pc:docMk/>
            <pc:sldMk cId="1473393101" sldId="304"/>
            <ac:graphicFrameMk id="5" creationId="{FAC9B8B5-F7C0-4218-8064-A065140A6E79}"/>
          </ac:graphicFrameMkLst>
        </pc:graphicFrameChg>
      </pc:sldChg>
      <pc:sldChg chg="addSp modSp mod modNotesTx">
        <pc:chgData name="Kory Thacher" userId="995eb0f2-f21c-467c-a947-4f8fc26d0f2e" providerId="ADAL" clId="{05368BF1-6F54-4ED3-A960-C453F4FF4B8C}" dt="2021-03-29T19:34:17.795" v="544" actId="20577"/>
        <pc:sldMkLst>
          <pc:docMk/>
          <pc:sldMk cId="2336824456" sldId="305"/>
        </pc:sldMkLst>
        <pc:spChg chg="add mod">
          <ac:chgData name="Kory Thacher" userId="995eb0f2-f21c-467c-a947-4f8fc26d0f2e" providerId="ADAL" clId="{05368BF1-6F54-4ED3-A960-C453F4FF4B8C}" dt="2021-03-29T19:28:23.351" v="322" actId="14100"/>
          <ac:spMkLst>
            <pc:docMk/>
            <pc:sldMk cId="2336824456" sldId="305"/>
            <ac:spMk id="2" creationId="{AE0A7C21-C970-4D3B-BB83-2B5A9E9C7D5E}"/>
          </ac:spMkLst>
        </pc:spChg>
        <pc:spChg chg="mod">
          <ac:chgData name="Kory Thacher" userId="995eb0f2-f21c-467c-a947-4f8fc26d0f2e" providerId="ADAL" clId="{05368BF1-6F54-4ED3-A960-C453F4FF4B8C}" dt="2021-03-29T19:33:29.316" v="450" actId="20577"/>
          <ac:spMkLst>
            <pc:docMk/>
            <pc:sldMk cId="2336824456" sldId="305"/>
            <ac:spMk id="3" creationId="{D9D2C87F-A94F-4D57-BE3D-E188B69E3BAD}"/>
          </ac:spMkLst>
        </pc:spChg>
        <pc:spChg chg="mod">
          <ac:chgData name="Kory Thacher" userId="995eb0f2-f21c-467c-a947-4f8fc26d0f2e" providerId="ADAL" clId="{05368BF1-6F54-4ED3-A960-C453F4FF4B8C}" dt="2021-03-29T19:27:20.650" v="310" actId="20577"/>
          <ac:spMkLst>
            <pc:docMk/>
            <pc:sldMk cId="2336824456" sldId="305"/>
            <ac:spMk id="6" creationId="{57F21D56-4AF5-4BA9-830A-68C97D8DA718}"/>
          </ac:spMkLst>
        </pc:spChg>
      </pc:sldChg>
      <pc:sldChg chg="modSp mod modCm modNotesTx">
        <pc:chgData name="Kory Thacher" userId="995eb0f2-f21c-467c-a947-4f8fc26d0f2e" providerId="ADAL" clId="{05368BF1-6F54-4ED3-A960-C453F4FF4B8C}" dt="2021-03-29T23:13:13.527" v="1037"/>
        <pc:sldMkLst>
          <pc:docMk/>
          <pc:sldMk cId="153140128" sldId="306"/>
        </pc:sldMkLst>
        <pc:spChg chg="mod">
          <ac:chgData name="Kory Thacher" userId="995eb0f2-f21c-467c-a947-4f8fc26d0f2e" providerId="ADAL" clId="{05368BF1-6F54-4ED3-A960-C453F4FF4B8C}" dt="2021-03-29T23:12:54.619" v="1035" actId="20577"/>
          <ac:spMkLst>
            <pc:docMk/>
            <pc:sldMk cId="153140128" sldId="306"/>
            <ac:spMk id="3" creationId="{D9D2C87F-A94F-4D57-BE3D-E188B69E3BAD}"/>
          </ac:spMkLst>
        </pc:spChg>
        <pc:spChg chg="mod">
          <ac:chgData name="Kory Thacher" userId="995eb0f2-f21c-467c-a947-4f8fc26d0f2e" providerId="ADAL" clId="{05368BF1-6F54-4ED3-A960-C453F4FF4B8C}" dt="2021-03-29T19:37:44.452" v="617" actId="6549"/>
          <ac:spMkLst>
            <pc:docMk/>
            <pc:sldMk cId="153140128" sldId="306"/>
            <ac:spMk id="6" creationId="{57F21D56-4AF5-4BA9-830A-68C97D8DA718}"/>
          </ac:spMkLst>
        </pc:spChg>
      </pc:sldChg>
      <pc:sldChg chg="ord addCm modCm">
        <pc:chgData name="Kory Thacher" userId="995eb0f2-f21c-467c-a947-4f8fc26d0f2e" providerId="ADAL" clId="{05368BF1-6F54-4ED3-A960-C453F4FF4B8C}" dt="2021-05-05T23:38:34.416" v="5487"/>
        <pc:sldMkLst>
          <pc:docMk/>
          <pc:sldMk cId="67706399" sldId="307"/>
        </pc:sldMkLst>
      </pc:sldChg>
      <pc:sldChg chg="addSp delSp modSp add mod modNotesTx">
        <pc:chgData name="Kory Thacher" userId="995eb0f2-f21c-467c-a947-4f8fc26d0f2e" providerId="ADAL" clId="{05368BF1-6F54-4ED3-A960-C453F4FF4B8C}" dt="2021-03-29T19:34:58.538" v="603" actId="20577"/>
        <pc:sldMkLst>
          <pc:docMk/>
          <pc:sldMk cId="3518894022" sldId="308"/>
        </pc:sldMkLst>
        <pc:spChg chg="del">
          <ac:chgData name="Kory Thacher" userId="995eb0f2-f21c-467c-a947-4f8fc26d0f2e" providerId="ADAL" clId="{05368BF1-6F54-4ED3-A960-C453F4FF4B8C}" dt="2021-03-29T19:29:08.786" v="327" actId="478"/>
          <ac:spMkLst>
            <pc:docMk/>
            <pc:sldMk cId="3518894022" sldId="308"/>
            <ac:spMk id="2" creationId="{AE0A7C21-C970-4D3B-BB83-2B5A9E9C7D5E}"/>
          </ac:spMkLst>
        </pc:spChg>
        <pc:spChg chg="mod">
          <ac:chgData name="Kory Thacher" userId="995eb0f2-f21c-467c-a947-4f8fc26d0f2e" providerId="ADAL" clId="{05368BF1-6F54-4ED3-A960-C453F4FF4B8C}" dt="2021-03-29T19:33:35.100" v="452" actId="6549"/>
          <ac:spMkLst>
            <pc:docMk/>
            <pc:sldMk cId="3518894022" sldId="308"/>
            <ac:spMk id="3" creationId="{D9D2C87F-A94F-4D57-BE3D-E188B69E3BAD}"/>
          </ac:spMkLst>
        </pc:spChg>
        <pc:spChg chg="add del">
          <ac:chgData name="Kory Thacher" userId="995eb0f2-f21c-467c-a947-4f8fc26d0f2e" providerId="ADAL" clId="{05368BF1-6F54-4ED3-A960-C453F4FF4B8C}" dt="2021-03-29T19:31:07.367" v="375" actId="11529"/>
          <ac:spMkLst>
            <pc:docMk/>
            <pc:sldMk cId="3518894022" sldId="308"/>
            <ac:spMk id="4" creationId="{B9B187B6-B7C3-4DEA-AC33-93C5AB8D5283}"/>
          </ac:spMkLst>
        </pc:spChg>
        <pc:spChg chg="add mod">
          <ac:chgData name="Kory Thacher" userId="995eb0f2-f21c-467c-a947-4f8fc26d0f2e" providerId="ADAL" clId="{05368BF1-6F54-4ED3-A960-C453F4FF4B8C}" dt="2021-03-29T19:30:53.910" v="373" actId="14100"/>
          <ac:spMkLst>
            <pc:docMk/>
            <pc:sldMk cId="3518894022" sldId="308"/>
            <ac:spMk id="5" creationId="{AE438A98-FC77-47DC-A5A4-FCED999E84F2}"/>
          </ac:spMkLst>
        </pc:spChg>
        <pc:spChg chg="mod">
          <ac:chgData name="Kory Thacher" userId="995eb0f2-f21c-467c-a947-4f8fc26d0f2e" providerId="ADAL" clId="{05368BF1-6F54-4ED3-A960-C453F4FF4B8C}" dt="2021-03-29T19:30:31.271" v="370" actId="1036"/>
          <ac:spMkLst>
            <pc:docMk/>
            <pc:sldMk cId="3518894022" sldId="308"/>
            <ac:spMk id="6" creationId="{57F21D56-4AF5-4BA9-830A-68C97D8DA718}"/>
          </ac:spMkLst>
        </pc:spChg>
        <pc:spChg chg="add mod">
          <ac:chgData name="Kory Thacher" userId="995eb0f2-f21c-467c-a947-4f8fc26d0f2e" providerId="ADAL" clId="{05368BF1-6F54-4ED3-A960-C453F4FF4B8C}" dt="2021-03-29T19:33:21.710" v="448" actId="113"/>
          <ac:spMkLst>
            <pc:docMk/>
            <pc:sldMk cId="3518894022" sldId="308"/>
            <ac:spMk id="7" creationId="{2285671B-5B00-4587-BEA9-3A39D9BDB418}"/>
          </ac:spMkLst>
        </pc:spChg>
      </pc:sldChg>
      <pc:sldChg chg="addSp delSp modSp add mod modShow modCm">
        <pc:chgData name="Kory Thacher" userId="995eb0f2-f21c-467c-a947-4f8fc26d0f2e" providerId="ADAL" clId="{05368BF1-6F54-4ED3-A960-C453F4FF4B8C}" dt="2021-04-21T21:07:47.844" v="4900"/>
        <pc:sldMkLst>
          <pc:docMk/>
          <pc:sldMk cId="2002600588" sldId="309"/>
        </pc:sldMkLst>
        <pc:picChg chg="add del mod">
          <ac:chgData name="Kory Thacher" userId="995eb0f2-f21c-467c-a947-4f8fc26d0f2e" providerId="ADAL" clId="{05368BF1-6F54-4ED3-A960-C453F4FF4B8C}" dt="2021-03-29T23:08:01.632" v="989" actId="478"/>
          <ac:picMkLst>
            <pc:docMk/>
            <pc:sldMk cId="2002600588" sldId="309"/>
            <ac:picMk id="5" creationId="{17C7038D-9AC2-4332-B9B4-66254F8EE505}"/>
          </ac:picMkLst>
        </pc:picChg>
        <pc:picChg chg="del">
          <ac:chgData name="Kory Thacher" userId="995eb0f2-f21c-467c-a947-4f8fc26d0f2e" providerId="ADAL" clId="{05368BF1-6F54-4ED3-A960-C453F4FF4B8C}" dt="2021-04-21T21:07:21.773" v="4898" actId="478"/>
          <ac:picMkLst>
            <pc:docMk/>
            <pc:sldMk cId="2002600588" sldId="309"/>
            <ac:picMk id="5" creationId="{5695AD5F-5194-4AD0-B396-0C9DFC5ADBB8}"/>
          </ac:picMkLst>
        </pc:picChg>
        <pc:picChg chg="del">
          <ac:chgData name="Kory Thacher" userId="995eb0f2-f21c-467c-a947-4f8fc26d0f2e" providerId="ADAL" clId="{05368BF1-6F54-4ED3-A960-C453F4FF4B8C}" dt="2021-03-29T23:09:19.062" v="997" actId="478"/>
          <ac:picMkLst>
            <pc:docMk/>
            <pc:sldMk cId="2002600588" sldId="309"/>
            <ac:picMk id="6" creationId="{DD695349-EC40-45D3-A24D-DD5CB293C1B2}"/>
          </ac:picMkLst>
        </pc:picChg>
        <pc:picChg chg="add mod modCrop">
          <ac:chgData name="Kory Thacher" userId="995eb0f2-f21c-467c-a947-4f8fc26d0f2e" providerId="ADAL" clId="{05368BF1-6F54-4ED3-A960-C453F4FF4B8C}" dt="2021-03-29T23:09:45.603" v="1000" actId="1076"/>
          <ac:picMkLst>
            <pc:docMk/>
            <pc:sldMk cId="2002600588" sldId="309"/>
            <ac:picMk id="10" creationId="{F5117CB2-8243-4ECF-BF67-5EC30D74C205}"/>
          </ac:picMkLst>
        </pc:picChg>
      </pc:sldChg>
      <pc:sldChg chg="modSp add mod modShow">
        <pc:chgData name="Kory Thacher" userId="995eb0f2-f21c-467c-a947-4f8fc26d0f2e" providerId="ADAL" clId="{05368BF1-6F54-4ED3-A960-C453F4FF4B8C}" dt="2021-04-21T21:10:18.833" v="4947" actId="729"/>
        <pc:sldMkLst>
          <pc:docMk/>
          <pc:sldMk cId="602721421" sldId="310"/>
        </pc:sldMkLst>
        <pc:graphicFrameChg chg="mod">
          <ac:chgData name="Kory Thacher" userId="995eb0f2-f21c-467c-a947-4f8fc26d0f2e" providerId="ADAL" clId="{05368BF1-6F54-4ED3-A960-C453F4FF4B8C}" dt="2021-03-29T23:12:04.896" v="1032"/>
          <ac:graphicFrameMkLst>
            <pc:docMk/>
            <pc:sldMk cId="602721421" sldId="310"/>
            <ac:graphicFrameMk id="6" creationId="{6925F76B-5073-4502-830C-D5242225BC69}"/>
          </ac:graphicFrameMkLst>
        </pc:graphicFrameChg>
      </pc:sldChg>
      <pc:sldChg chg="modSp add del mod setBg modShow addCm">
        <pc:chgData name="Kory Thacher" userId="995eb0f2-f21c-467c-a947-4f8fc26d0f2e" providerId="ADAL" clId="{05368BF1-6F54-4ED3-A960-C453F4FF4B8C}" dt="2021-04-21T21:08:08.184" v="4902" actId="47"/>
        <pc:sldMkLst>
          <pc:docMk/>
          <pc:sldMk cId="1765459266" sldId="311"/>
        </pc:sldMkLst>
        <pc:graphicFrameChg chg="add mod">
          <ac:chgData name="Kory Thacher" userId="995eb0f2-f21c-467c-a947-4f8fc26d0f2e" providerId="ADAL" clId="{05368BF1-6F54-4ED3-A960-C453F4FF4B8C}" dt="2021-03-29T23:14:33.733" v="1041" actId="2085"/>
          <ac:graphicFrameMkLst>
            <pc:docMk/>
            <pc:sldMk cId="1765459266" sldId="311"/>
            <ac:graphicFrameMk id="4" creationId="{3F834BDE-028F-48AC-A6A7-B0AC65223F7A}"/>
          </ac:graphicFrameMkLst>
        </pc:graphicFrameChg>
      </pc:sldChg>
      <pc:sldChg chg="add del">
        <pc:chgData name="Kory Thacher" userId="995eb0f2-f21c-467c-a947-4f8fc26d0f2e" providerId="ADAL" clId="{05368BF1-6F54-4ED3-A960-C453F4FF4B8C}" dt="2021-03-29T23:15:12.961" v="1046" actId="47"/>
        <pc:sldMkLst>
          <pc:docMk/>
          <pc:sldMk cId="1574963858" sldId="312"/>
        </pc:sldMkLst>
      </pc:sldChg>
      <pc:sldChg chg="modSp add mod setBg modShow addCm modCm">
        <pc:chgData name="Kory Thacher" userId="995eb0f2-f21c-467c-a947-4f8fc26d0f2e" providerId="ADAL" clId="{05368BF1-6F54-4ED3-A960-C453F4FF4B8C}" dt="2021-04-21T21:08:21.696" v="4905"/>
        <pc:sldMkLst>
          <pc:docMk/>
          <pc:sldMk cId="2382406181" sldId="312"/>
        </pc:sldMkLst>
        <pc:graphicFrameChg chg="mod">
          <ac:chgData name="Kory Thacher" userId="995eb0f2-f21c-467c-a947-4f8fc26d0f2e" providerId="ADAL" clId="{05368BF1-6F54-4ED3-A960-C453F4FF4B8C}" dt="2021-03-29T23:15:24.962" v="1048" actId="2085"/>
          <ac:graphicFrameMkLst>
            <pc:docMk/>
            <pc:sldMk cId="2382406181" sldId="312"/>
            <ac:graphicFrameMk id="4" creationId="{3F834BDE-028F-48AC-A6A7-B0AC65223F7A}"/>
          </ac:graphicFrameMkLst>
        </pc:graphicFrameChg>
      </pc:sldChg>
      <pc:sldChg chg="modSp add mod ord modCm modNotesTx">
        <pc:chgData name="Kory Thacher" userId="995eb0f2-f21c-467c-a947-4f8fc26d0f2e" providerId="ADAL" clId="{05368BF1-6F54-4ED3-A960-C453F4FF4B8C}" dt="2021-05-05T23:30:08.080" v="5363" actId="33524"/>
        <pc:sldMkLst>
          <pc:docMk/>
          <pc:sldMk cId="1470083596" sldId="313"/>
        </pc:sldMkLst>
        <pc:spChg chg="mod">
          <ac:chgData name="Kory Thacher" userId="995eb0f2-f21c-467c-a947-4f8fc26d0f2e" providerId="ADAL" clId="{05368BF1-6F54-4ED3-A960-C453F4FF4B8C}" dt="2021-03-31T16:27:26.021" v="1708" actId="20577"/>
          <ac:spMkLst>
            <pc:docMk/>
            <pc:sldMk cId="1470083596" sldId="313"/>
            <ac:spMk id="4" creationId="{518B9A09-4177-462E-9B5C-328B2F3F0978}"/>
          </ac:spMkLst>
        </pc:spChg>
        <pc:graphicFrameChg chg="mod">
          <ac:chgData name="Kory Thacher" userId="995eb0f2-f21c-467c-a947-4f8fc26d0f2e" providerId="ADAL" clId="{05368BF1-6F54-4ED3-A960-C453F4FF4B8C}" dt="2021-03-31T16:38:12.132" v="1936" actId="113"/>
          <ac:graphicFrameMkLst>
            <pc:docMk/>
            <pc:sldMk cId="1470083596" sldId="313"/>
            <ac:graphicFrameMk id="5" creationId="{FAC9B8B5-F7C0-4218-8064-A065140A6E79}"/>
          </ac:graphicFrameMkLst>
        </pc:graphicFrameChg>
      </pc:sldChg>
      <pc:sldChg chg="modSp add mod modShow addCm modCm">
        <pc:chgData name="Kory Thacher" userId="995eb0f2-f21c-467c-a947-4f8fc26d0f2e" providerId="ADAL" clId="{05368BF1-6F54-4ED3-A960-C453F4FF4B8C}" dt="2021-05-05T23:36:37.890" v="5486"/>
        <pc:sldMkLst>
          <pc:docMk/>
          <pc:sldMk cId="2089933290" sldId="314"/>
        </pc:sldMkLst>
        <pc:spChg chg="mod">
          <ac:chgData name="Kory Thacher" userId="995eb0f2-f21c-467c-a947-4f8fc26d0f2e" providerId="ADAL" clId="{05368BF1-6F54-4ED3-A960-C453F4FF4B8C}" dt="2021-03-31T16:48:51.758" v="2992" actId="1076"/>
          <ac:spMkLst>
            <pc:docMk/>
            <pc:sldMk cId="2089933290" sldId="314"/>
            <ac:spMk id="4" creationId="{518B9A09-4177-462E-9B5C-328B2F3F0978}"/>
          </ac:spMkLst>
        </pc:spChg>
      </pc:sldChg>
      <pc:sldChg chg="add del">
        <pc:chgData name="Kory Thacher" userId="995eb0f2-f21c-467c-a947-4f8fc26d0f2e" providerId="ADAL" clId="{05368BF1-6F54-4ED3-A960-C453F4FF4B8C}" dt="2021-03-31T16:48:47.393" v="2990"/>
        <pc:sldMkLst>
          <pc:docMk/>
          <pc:sldMk cId="1579390706" sldId="315"/>
        </pc:sldMkLst>
      </pc:sldChg>
      <pc:sldChg chg="modSp add addCm modNotesTx">
        <pc:chgData name="Kory Thacher" userId="995eb0f2-f21c-467c-a947-4f8fc26d0f2e" providerId="ADAL" clId="{05368BF1-6F54-4ED3-A960-C453F4FF4B8C}" dt="2021-03-31T17:01:08.023" v="4025"/>
        <pc:sldMkLst>
          <pc:docMk/>
          <pc:sldMk cId="3280043200" sldId="315"/>
        </pc:sldMkLst>
        <pc:spChg chg="mod">
          <ac:chgData name="Kory Thacher" userId="995eb0f2-f21c-467c-a947-4f8fc26d0f2e" providerId="ADAL" clId="{05368BF1-6F54-4ED3-A960-C453F4FF4B8C}" dt="2021-03-31T16:51:37.196" v="3148" actId="20577"/>
          <ac:spMkLst>
            <pc:docMk/>
            <pc:sldMk cId="3280043200" sldId="315"/>
            <ac:spMk id="12" creationId="{1EE5C80A-18AF-4202-A9E9-7837BE549FE4}"/>
          </ac:spMkLst>
        </pc:spChg>
      </pc:sldChg>
      <pc:sldChg chg="modSp add mod modShow">
        <pc:chgData name="Kory Thacher" userId="995eb0f2-f21c-467c-a947-4f8fc26d0f2e" providerId="ADAL" clId="{05368BF1-6F54-4ED3-A960-C453F4FF4B8C}" dt="2021-05-05T23:41:21.203" v="5500" actId="729"/>
        <pc:sldMkLst>
          <pc:docMk/>
          <pc:sldMk cId="148647898" sldId="316"/>
        </pc:sldMkLst>
        <pc:graphicFrameChg chg="mod modGraphic">
          <ac:chgData name="Kory Thacher" userId="995eb0f2-f21c-467c-a947-4f8fc26d0f2e" providerId="ADAL" clId="{05368BF1-6F54-4ED3-A960-C453F4FF4B8C}" dt="2021-05-05T23:41:15.367" v="5499" actId="207"/>
          <ac:graphicFrameMkLst>
            <pc:docMk/>
            <pc:sldMk cId="148647898" sldId="316"/>
            <ac:graphicFrameMk id="5" creationId="{FAC9B8B5-F7C0-4218-8064-A065140A6E79}"/>
          </ac:graphicFrameMkLst>
        </pc:graphicFrameChg>
      </pc:sldChg>
      <pc:sldChg chg="addSp delSp modSp add del mod modShow">
        <pc:chgData name="Kory Thacher" userId="995eb0f2-f21c-467c-a947-4f8fc26d0f2e" providerId="ADAL" clId="{05368BF1-6F54-4ED3-A960-C453F4FF4B8C}" dt="2021-05-05T21:16:30.796" v="4949" actId="47"/>
        <pc:sldMkLst>
          <pc:docMk/>
          <pc:sldMk cId="1264862004" sldId="316"/>
        </pc:sldMkLst>
        <pc:spChg chg="del mod">
          <ac:chgData name="Kory Thacher" userId="995eb0f2-f21c-467c-a947-4f8fc26d0f2e" providerId="ADAL" clId="{05368BF1-6F54-4ED3-A960-C453F4FF4B8C}" dt="2021-03-31T17:56:08.055" v="4805" actId="12084"/>
          <ac:spMkLst>
            <pc:docMk/>
            <pc:sldMk cId="1264862004" sldId="316"/>
            <ac:spMk id="2" creationId="{515E5904-1DAF-462F-A1BB-5E6CA27E11A0}"/>
          </ac:spMkLst>
        </pc:spChg>
        <pc:graphicFrameChg chg="add mod">
          <ac:chgData name="Kory Thacher" userId="995eb0f2-f21c-467c-a947-4f8fc26d0f2e" providerId="ADAL" clId="{05368BF1-6F54-4ED3-A960-C453F4FF4B8C}" dt="2021-03-31T17:58:59.244" v="4873" actId="113"/>
          <ac:graphicFrameMkLst>
            <pc:docMk/>
            <pc:sldMk cId="1264862004" sldId="316"/>
            <ac:graphicFrameMk id="3" creationId="{9750A5C7-67B9-47AA-820C-243983D78055}"/>
          </ac:graphicFrameMkLst>
        </pc:graphicFrameChg>
      </pc:sldChg>
    </pc:docChg>
  </pc:docChgLst>
  <pc:docChgLst>
    <pc:chgData name="Ted Sdoukos" userId="452f4c21-798d-4542-a98f-cd5dbb1e97e3" providerId="ADAL" clId="{D25B4FA6-29D6-4BE0-B970-BA828D0A8218}"/>
    <pc:docChg chg="undo custSel addSld modSld">
      <pc:chgData name="Ted Sdoukos" userId="452f4c21-798d-4542-a98f-cd5dbb1e97e3" providerId="ADAL" clId="{D25B4FA6-29D6-4BE0-B970-BA828D0A8218}" dt="2021-12-15T17:45:51.305" v="48" actId="20577"/>
      <pc:docMkLst>
        <pc:docMk/>
      </pc:docMkLst>
      <pc:sldChg chg="addSp delSp mod">
        <pc:chgData name="Ted Sdoukos" userId="452f4c21-798d-4542-a98f-cd5dbb1e97e3" providerId="ADAL" clId="{D25B4FA6-29D6-4BE0-B970-BA828D0A8218}" dt="2021-12-15T17:45:18.642" v="25" actId="22"/>
        <pc:sldMkLst>
          <pc:docMk/>
          <pc:sldMk cId="3498628492" sldId="293"/>
        </pc:sldMkLst>
        <pc:spChg chg="add del">
          <ac:chgData name="Ted Sdoukos" userId="452f4c21-798d-4542-a98f-cd5dbb1e97e3" providerId="ADAL" clId="{D25B4FA6-29D6-4BE0-B970-BA828D0A8218}" dt="2021-12-15T17:45:18.642" v="25" actId="22"/>
          <ac:spMkLst>
            <pc:docMk/>
            <pc:sldMk cId="3498628492" sldId="293"/>
            <ac:spMk id="6" creationId="{09F2888C-EF72-417C-957F-C1B16F9FDB83}"/>
          </ac:spMkLst>
        </pc:spChg>
      </pc:sldChg>
      <pc:sldChg chg="modSp mod modShow addCm">
        <pc:chgData name="Ted Sdoukos" userId="452f4c21-798d-4542-a98f-cd5dbb1e97e3" providerId="ADAL" clId="{D25B4FA6-29D6-4BE0-B970-BA828D0A8218}" dt="2021-12-15T17:44:57.431" v="23"/>
        <pc:sldMkLst>
          <pc:docMk/>
          <pc:sldMk cId="3753523671" sldId="360"/>
        </pc:sldMkLst>
        <pc:spChg chg="mod">
          <ac:chgData name="Ted Sdoukos" userId="452f4c21-798d-4542-a98f-cd5dbb1e97e3" providerId="ADAL" clId="{D25B4FA6-29D6-4BE0-B970-BA828D0A8218}" dt="2021-12-15T17:44:33.942" v="22" actId="20577"/>
          <ac:spMkLst>
            <pc:docMk/>
            <pc:sldMk cId="3753523671" sldId="360"/>
            <ac:spMk id="3" creationId="{5B73110F-3F7F-446D-87F9-219F6D0DBF1D}"/>
          </ac:spMkLst>
        </pc:spChg>
      </pc:sldChg>
      <pc:sldChg chg="modSp add mod modShow">
        <pc:chgData name="Ted Sdoukos" userId="452f4c21-798d-4542-a98f-cd5dbb1e97e3" providerId="ADAL" clId="{D25B4FA6-29D6-4BE0-B970-BA828D0A8218}" dt="2021-12-15T17:45:51.305" v="48" actId="20577"/>
        <pc:sldMkLst>
          <pc:docMk/>
          <pc:sldMk cId="1659811046" sldId="361"/>
        </pc:sldMkLst>
        <pc:spChg chg="mod">
          <ac:chgData name="Ted Sdoukos" userId="452f4c21-798d-4542-a98f-cd5dbb1e97e3" providerId="ADAL" clId="{D25B4FA6-29D6-4BE0-B970-BA828D0A8218}" dt="2021-12-15T17:45:51.305" v="48" actId="20577"/>
          <ac:spMkLst>
            <pc:docMk/>
            <pc:sldMk cId="1659811046" sldId="361"/>
            <ac:spMk id="3" creationId="{5B73110F-3F7F-446D-87F9-219F6D0DBF1D}"/>
          </ac:spMkLst>
        </pc:spChg>
      </pc:sldChg>
    </pc:docChg>
  </pc:docChgLst>
  <pc:docChgLst>
    <pc:chgData name="Tony Radkiewicz" userId="9832534a-7e4f-4058-9c41-7f4a5b855c95" providerId="ADAL" clId="{5F416053-67A5-4D61-927B-FE724CC7367B}"/>
    <pc:docChg chg="">
      <pc:chgData name="Tony Radkiewicz" userId="9832534a-7e4f-4058-9c41-7f4a5b855c95" providerId="ADAL" clId="{5F416053-67A5-4D61-927B-FE724CC7367B}" dt="2021-05-06T19:14:42.913" v="3"/>
      <pc:docMkLst>
        <pc:docMk/>
      </pc:docMkLst>
      <pc:sldChg chg="modCm">
        <pc:chgData name="Tony Radkiewicz" userId="9832534a-7e4f-4058-9c41-7f4a5b855c95" providerId="ADAL" clId="{5F416053-67A5-4D61-927B-FE724CC7367B}" dt="2021-05-06T19:13:36.760" v="2"/>
        <pc:sldMkLst>
          <pc:docMk/>
          <pc:sldMk cId="313771798" sldId="284"/>
        </pc:sldMkLst>
      </pc:sldChg>
      <pc:sldChg chg="modCm">
        <pc:chgData name="Tony Radkiewicz" userId="9832534a-7e4f-4058-9c41-7f4a5b855c95" providerId="ADAL" clId="{5F416053-67A5-4D61-927B-FE724CC7367B}" dt="2021-05-06T19:12:04.232" v="0"/>
        <pc:sldMkLst>
          <pc:docMk/>
          <pc:sldMk cId="1473393101" sldId="304"/>
        </pc:sldMkLst>
      </pc:sldChg>
      <pc:sldChg chg="modCm">
        <pc:chgData name="Tony Radkiewicz" userId="9832534a-7e4f-4058-9c41-7f4a5b855c95" providerId="ADAL" clId="{5F416053-67A5-4D61-927B-FE724CC7367B}" dt="2021-05-06T19:12:39.939" v="1"/>
        <pc:sldMkLst>
          <pc:docMk/>
          <pc:sldMk cId="67706399" sldId="307"/>
        </pc:sldMkLst>
      </pc:sldChg>
      <pc:sldChg chg="modCm">
        <pc:chgData name="Tony Radkiewicz" userId="9832534a-7e4f-4058-9c41-7f4a5b855c95" providerId="ADAL" clId="{5F416053-67A5-4D61-927B-FE724CC7367B}" dt="2021-05-06T19:14:42.913" v="3"/>
        <pc:sldMkLst>
          <pc:docMk/>
          <pc:sldMk cId="2089933290" sldId="314"/>
        </pc:sldMkLst>
      </pc:sldChg>
    </pc:docChg>
  </pc:docChgLst>
  <pc:docChgLst>
    <pc:chgData name="Mike O'Neill" userId="4db8c7d5-0316-4c76-8011-b0536973c37b" providerId="ADAL" clId="{9C5FDA8B-C178-4414-AFA5-23300316E6D2}"/>
    <pc:docChg chg="undo redo custSel addSld delSld modSld sldOrd modMainMaster addSection delSection modSection">
      <pc:chgData name="Mike O'Neill" userId="4db8c7d5-0316-4c76-8011-b0536973c37b" providerId="ADAL" clId="{9C5FDA8B-C178-4414-AFA5-23300316E6D2}" dt="2021-08-09T21:22:41.844" v="3501"/>
      <pc:docMkLst>
        <pc:docMk/>
      </pc:docMkLst>
      <pc:sldChg chg="modNotesTx">
        <pc:chgData name="Mike O'Neill" userId="4db8c7d5-0316-4c76-8011-b0536973c37b" providerId="ADAL" clId="{9C5FDA8B-C178-4414-AFA5-23300316E6D2}" dt="2021-08-02T16:08:23.684" v="382" actId="20577"/>
        <pc:sldMkLst>
          <pc:docMk/>
          <pc:sldMk cId="3950207328" sldId="265"/>
        </pc:sldMkLst>
      </pc:sldChg>
      <pc:sldChg chg="ord">
        <pc:chgData name="Mike O'Neill" userId="4db8c7d5-0316-4c76-8011-b0536973c37b" providerId="ADAL" clId="{9C5FDA8B-C178-4414-AFA5-23300316E6D2}" dt="2021-08-02T20:04:23.371" v="1025"/>
        <pc:sldMkLst>
          <pc:docMk/>
          <pc:sldMk cId="1515139851" sldId="273"/>
        </pc:sldMkLst>
      </pc:sldChg>
      <pc:sldChg chg="modSp mod">
        <pc:chgData name="Mike O'Neill" userId="4db8c7d5-0316-4c76-8011-b0536973c37b" providerId="ADAL" clId="{9C5FDA8B-C178-4414-AFA5-23300316E6D2}" dt="2021-08-06T16:22:04.615" v="2078" actId="20577"/>
        <pc:sldMkLst>
          <pc:docMk/>
          <pc:sldMk cId="1118951384" sldId="275"/>
        </pc:sldMkLst>
        <pc:graphicFrameChg chg="mod modGraphic">
          <ac:chgData name="Mike O'Neill" userId="4db8c7d5-0316-4c76-8011-b0536973c37b" providerId="ADAL" clId="{9C5FDA8B-C178-4414-AFA5-23300316E6D2}" dt="2021-08-06T16:22:04.615" v="2078" actId="20577"/>
          <ac:graphicFrameMkLst>
            <pc:docMk/>
            <pc:sldMk cId="1118951384" sldId="275"/>
            <ac:graphicFrameMk id="4" creationId="{F7E4D8ED-66CB-44F7-BA75-20A3D914683F}"/>
          </ac:graphicFrameMkLst>
        </pc:graphicFrameChg>
      </pc:sldChg>
      <pc:sldChg chg="modSp mod">
        <pc:chgData name="Mike O'Neill" userId="4db8c7d5-0316-4c76-8011-b0536973c37b" providerId="ADAL" clId="{9C5FDA8B-C178-4414-AFA5-23300316E6D2}" dt="2021-08-02T16:11:00.727" v="444" actId="20577"/>
        <pc:sldMkLst>
          <pc:docMk/>
          <pc:sldMk cId="2508498538" sldId="277"/>
        </pc:sldMkLst>
        <pc:graphicFrameChg chg="modGraphic">
          <ac:chgData name="Mike O'Neill" userId="4db8c7d5-0316-4c76-8011-b0536973c37b" providerId="ADAL" clId="{9C5FDA8B-C178-4414-AFA5-23300316E6D2}" dt="2021-08-02T16:11:00.727" v="444" actId="20577"/>
          <ac:graphicFrameMkLst>
            <pc:docMk/>
            <pc:sldMk cId="2508498538" sldId="277"/>
            <ac:graphicFrameMk id="5" creationId="{38D36B3D-5A15-4DD2-9146-3616185CF334}"/>
          </ac:graphicFrameMkLst>
        </pc:graphicFrameChg>
      </pc:sldChg>
      <pc:sldChg chg="modSp mod">
        <pc:chgData name="Mike O'Neill" userId="4db8c7d5-0316-4c76-8011-b0536973c37b" providerId="ADAL" clId="{9C5FDA8B-C178-4414-AFA5-23300316E6D2}" dt="2021-08-02T16:11:23.041" v="448" actId="20577"/>
        <pc:sldMkLst>
          <pc:docMk/>
          <pc:sldMk cId="3650975258" sldId="278"/>
        </pc:sldMkLst>
        <pc:graphicFrameChg chg="modGraphic">
          <ac:chgData name="Mike O'Neill" userId="4db8c7d5-0316-4c76-8011-b0536973c37b" providerId="ADAL" clId="{9C5FDA8B-C178-4414-AFA5-23300316E6D2}" dt="2021-08-02T16:11:23.041" v="448" actId="20577"/>
          <ac:graphicFrameMkLst>
            <pc:docMk/>
            <pc:sldMk cId="3650975258" sldId="278"/>
            <ac:graphicFrameMk id="4" creationId="{9BF7A521-8CC8-44B9-9A62-AF8EA1DAE537}"/>
          </ac:graphicFrameMkLst>
        </pc:graphicFrameChg>
      </pc:sldChg>
      <pc:sldChg chg="modSp mod">
        <pc:chgData name="Mike O'Neill" userId="4db8c7d5-0316-4c76-8011-b0536973c37b" providerId="ADAL" clId="{9C5FDA8B-C178-4414-AFA5-23300316E6D2}" dt="2021-08-02T16:11:38.906" v="456" actId="20577"/>
        <pc:sldMkLst>
          <pc:docMk/>
          <pc:sldMk cId="3851443998" sldId="282"/>
        </pc:sldMkLst>
        <pc:spChg chg="mod">
          <ac:chgData name="Mike O'Neill" userId="4db8c7d5-0316-4c76-8011-b0536973c37b" providerId="ADAL" clId="{9C5FDA8B-C178-4414-AFA5-23300316E6D2}" dt="2021-08-02T16:11:38.906" v="456" actId="20577"/>
          <ac:spMkLst>
            <pc:docMk/>
            <pc:sldMk cId="3851443998" sldId="282"/>
            <ac:spMk id="7" creationId="{8576203E-EB4C-4A14-B252-6D78DF66E990}"/>
          </ac:spMkLst>
        </pc:spChg>
      </pc:sldChg>
      <pc:sldChg chg="ord">
        <pc:chgData name="Mike O'Neill" userId="4db8c7d5-0316-4c76-8011-b0536973c37b" providerId="ADAL" clId="{9C5FDA8B-C178-4414-AFA5-23300316E6D2}" dt="2021-08-02T16:15:07.320" v="517"/>
        <pc:sldMkLst>
          <pc:docMk/>
          <pc:sldMk cId="313771798" sldId="284"/>
        </pc:sldMkLst>
      </pc:sldChg>
      <pc:sldChg chg="del">
        <pc:chgData name="Mike O'Neill" userId="4db8c7d5-0316-4c76-8011-b0536973c37b" providerId="ADAL" clId="{9C5FDA8B-C178-4414-AFA5-23300316E6D2}" dt="2021-08-02T16:11:55.677" v="457" actId="47"/>
        <pc:sldMkLst>
          <pc:docMk/>
          <pc:sldMk cId="802291280" sldId="285"/>
        </pc:sldMkLst>
      </pc:sldChg>
      <pc:sldChg chg="del">
        <pc:chgData name="Mike O'Neill" userId="4db8c7d5-0316-4c76-8011-b0536973c37b" providerId="ADAL" clId="{9C5FDA8B-C178-4414-AFA5-23300316E6D2}" dt="2021-07-19T20:45:59.897" v="3" actId="47"/>
        <pc:sldMkLst>
          <pc:docMk/>
          <pc:sldMk cId="2593067158" sldId="286"/>
        </pc:sldMkLst>
      </pc:sldChg>
      <pc:sldChg chg="del">
        <pc:chgData name="Mike O'Neill" userId="4db8c7d5-0316-4c76-8011-b0536973c37b" providerId="ADAL" clId="{9C5FDA8B-C178-4414-AFA5-23300316E6D2}" dt="2021-07-19T20:45:27.546" v="0" actId="47"/>
        <pc:sldMkLst>
          <pc:docMk/>
          <pc:sldMk cId="1338338796" sldId="287"/>
        </pc:sldMkLst>
      </pc:sldChg>
      <pc:sldChg chg="modSp mod">
        <pc:chgData name="Mike O'Neill" userId="4db8c7d5-0316-4c76-8011-b0536973c37b" providerId="ADAL" clId="{9C5FDA8B-C178-4414-AFA5-23300316E6D2}" dt="2021-08-02T16:09:35.552" v="401" actId="20577"/>
        <pc:sldMkLst>
          <pc:docMk/>
          <pc:sldMk cId="3948486999" sldId="290"/>
        </pc:sldMkLst>
        <pc:graphicFrameChg chg="modGraphic">
          <ac:chgData name="Mike O'Neill" userId="4db8c7d5-0316-4c76-8011-b0536973c37b" providerId="ADAL" clId="{9C5FDA8B-C178-4414-AFA5-23300316E6D2}" dt="2021-08-02T16:09:35.552" v="401" actId="20577"/>
          <ac:graphicFrameMkLst>
            <pc:docMk/>
            <pc:sldMk cId="3948486999" sldId="290"/>
            <ac:graphicFrameMk id="9" creationId="{4E15B5D6-0673-4365-B6C9-E2855129C6C1}"/>
          </ac:graphicFrameMkLst>
        </pc:graphicFrameChg>
      </pc:sldChg>
      <pc:sldChg chg="modSp mod">
        <pc:chgData name="Mike O'Neill" userId="4db8c7d5-0316-4c76-8011-b0536973c37b" providerId="ADAL" clId="{9C5FDA8B-C178-4414-AFA5-23300316E6D2}" dt="2021-08-02T16:15:39.624" v="560" actId="20577"/>
        <pc:sldMkLst>
          <pc:docMk/>
          <pc:sldMk cId="3498628492" sldId="293"/>
        </pc:sldMkLst>
        <pc:spChg chg="mod">
          <ac:chgData name="Mike O'Neill" userId="4db8c7d5-0316-4c76-8011-b0536973c37b" providerId="ADAL" clId="{9C5FDA8B-C178-4414-AFA5-23300316E6D2}" dt="2021-08-02T16:15:14.387" v="521" actId="20577"/>
          <ac:spMkLst>
            <pc:docMk/>
            <pc:sldMk cId="3498628492" sldId="293"/>
            <ac:spMk id="3" creationId="{5B73110F-3F7F-446D-87F9-219F6D0DBF1D}"/>
          </ac:spMkLst>
        </pc:spChg>
        <pc:spChg chg="mod">
          <ac:chgData name="Mike O'Neill" userId="4db8c7d5-0316-4c76-8011-b0536973c37b" providerId="ADAL" clId="{9C5FDA8B-C178-4414-AFA5-23300316E6D2}" dt="2021-08-02T16:15:39.624" v="560" actId="20577"/>
          <ac:spMkLst>
            <pc:docMk/>
            <pc:sldMk cId="3498628492" sldId="293"/>
            <ac:spMk id="9" creationId="{8A5A0421-2A84-4A4A-868E-9AF5B6DC72EB}"/>
          </ac:spMkLst>
        </pc:spChg>
      </pc:sldChg>
      <pc:sldChg chg="modSp mod">
        <pc:chgData name="Mike O'Neill" userId="4db8c7d5-0316-4c76-8011-b0536973c37b" providerId="ADAL" clId="{9C5FDA8B-C178-4414-AFA5-23300316E6D2}" dt="2021-08-02T16:08:53.508" v="385" actId="20577"/>
        <pc:sldMkLst>
          <pc:docMk/>
          <pc:sldMk cId="3171174539" sldId="295"/>
        </pc:sldMkLst>
        <pc:graphicFrameChg chg="mod modGraphic">
          <ac:chgData name="Mike O'Neill" userId="4db8c7d5-0316-4c76-8011-b0536973c37b" providerId="ADAL" clId="{9C5FDA8B-C178-4414-AFA5-23300316E6D2}" dt="2021-08-02T16:08:53.508" v="385" actId="20577"/>
          <ac:graphicFrameMkLst>
            <pc:docMk/>
            <pc:sldMk cId="3171174539" sldId="295"/>
            <ac:graphicFrameMk id="5" creationId="{AFB94093-A6D5-4E3D-BC22-E8007D4E4DF9}"/>
          </ac:graphicFrameMkLst>
        </pc:graphicFrameChg>
      </pc:sldChg>
      <pc:sldChg chg="modSp mod">
        <pc:chgData name="Mike O'Neill" userId="4db8c7d5-0316-4c76-8011-b0536973c37b" providerId="ADAL" clId="{9C5FDA8B-C178-4414-AFA5-23300316E6D2}" dt="2021-08-02T16:13:39.917" v="499" actId="20577"/>
        <pc:sldMkLst>
          <pc:docMk/>
          <pc:sldMk cId="953258012" sldId="298"/>
        </pc:sldMkLst>
        <pc:graphicFrameChg chg="modGraphic">
          <ac:chgData name="Mike O'Neill" userId="4db8c7d5-0316-4c76-8011-b0536973c37b" providerId="ADAL" clId="{9C5FDA8B-C178-4414-AFA5-23300316E6D2}" dt="2021-08-02T16:13:39.917" v="499" actId="20577"/>
          <ac:graphicFrameMkLst>
            <pc:docMk/>
            <pc:sldMk cId="953258012" sldId="298"/>
            <ac:graphicFrameMk id="9" creationId="{4E15B5D6-0673-4365-B6C9-E2855129C6C1}"/>
          </ac:graphicFrameMkLst>
        </pc:graphicFrameChg>
      </pc:sldChg>
      <pc:sldChg chg="modSp mod">
        <pc:chgData name="Mike O'Neill" userId="4db8c7d5-0316-4c76-8011-b0536973c37b" providerId="ADAL" clId="{9C5FDA8B-C178-4414-AFA5-23300316E6D2}" dt="2021-08-02T16:14:03.736" v="513" actId="20577"/>
        <pc:sldMkLst>
          <pc:docMk/>
          <pc:sldMk cId="1602068736" sldId="299"/>
        </pc:sldMkLst>
        <pc:graphicFrameChg chg="modGraphic">
          <ac:chgData name="Mike O'Neill" userId="4db8c7d5-0316-4c76-8011-b0536973c37b" providerId="ADAL" clId="{9C5FDA8B-C178-4414-AFA5-23300316E6D2}" dt="2021-08-02T16:14:03.736" v="513" actId="20577"/>
          <ac:graphicFrameMkLst>
            <pc:docMk/>
            <pc:sldMk cId="1602068736" sldId="299"/>
            <ac:graphicFrameMk id="7" creationId="{7783C770-6205-4D5B-A845-381FDFAC6C94}"/>
          </ac:graphicFrameMkLst>
        </pc:graphicFrameChg>
      </pc:sldChg>
      <pc:sldChg chg="ord">
        <pc:chgData name="Mike O'Neill" userId="4db8c7d5-0316-4c76-8011-b0536973c37b" providerId="ADAL" clId="{9C5FDA8B-C178-4414-AFA5-23300316E6D2}" dt="2021-08-02T16:15:07.320" v="517"/>
        <pc:sldMkLst>
          <pc:docMk/>
          <pc:sldMk cId="2567317455" sldId="301"/>
        </pc:sldMkLst>
      </pc:sldChg>
      <pc:sldChg chg="ord">
        <pc:chgData name="Mike O'Neill" userId="4db8c7d5-0316-4c76-8011-b0536973c37b" providerId="ADAL" clId="{9C5FDA8B-C178-4414-AFA5-23300316E6D2}" dt="2021-08-02T16:15:07.320" v="517"/>
        <pc:sldMkLst>
          <pc:docMk/>
          <pc:sldMk cId="2045087060" sldId="302"/>
        </pc:sldMkLst>
      </pc:sldChg>
      <pc:sldChg chg="ord">
        <pc:chgData name="Mike O'Neill" userId="4db8c7d5-0316-4c76-8011-b0536973c37b" providerId="ADAL" clId="{9C5FDA8B-C178-4414-AFA5-23300316E6D2}" dt="2021-08-02T16:15:07.320" v="517"/>
        <pc:sldMkLst>
          <pc:docMk/>
          <pc:sldMk cId="1473393101" sldId="304"/>
        </pc:sldMkLst>
      </pc:sldChg>
      <pc:sldChg chg="del">
        <pc:chgData name="Mike O'Neill" userId="4db8c7d5-0316-4c76-8011-b0536973c37b" providerId="ADAL" clId="{9C5FDA8B-C178-4414-AFA5-23300316E6D2}" dt="2021-07-19T21:04:41.569" v="120" actId="47"/>
        <pc:sldMkLst>
          <pc:docMk/>
          <pc:sldMk cId="67706399" sldId="307"/>
        </pc:sldMkLst>
      </pc:sldChg>
      <pc:sldChg chg="ord">
        <pc:chgData name="Mike O'Neill" userId="4db8c7d5-0316-4c76-8011-b0536973c37b" providerId="ADAL" clId="{9C5FDA8B-C178-4414-AFA5-23300316E6D2}" dt="2021-08-09T20:16:41.466" v="3488"/>
        <pc:sldMkLst>
          <pc:docMk/>
          <pc:sldMk cId="602721421" sldId="310"/>
        </pc:sldMkLst>
      </pc:sldChg>
      <pc:sldChg chg="modSp mod">
        <pc:chgData name="Mike O'Neill" userId="4db8c7d5-0316-4c76-8011-b0536973c37b" providerId="ADAL" clId="{9C5FDA8B-C178-4414-AFA5-23300316E6D2}" dt="2021-08-02T16:10:33.124" v="425" actId="20577"/>
        <pc:sldMkLst>
          <pc:docMk/>
          <pc:sldMk cId="2382406181" sldId="312"/>
        </pc:sldMkLst>
        <pc:graphicFrameChg chg="modGraphic">
          <ac:chgData name="Mike O'Neill" userId="4db8c7d5-0316-4c76-8011-b0536973c37b" providerId="ADAL" clId="{9C5FDA8B-C178-4414-AFA5-23300316E6D2}" dt="2021-08-02T16:10:33.124" v="425" actId="20577"/>
          <ac:graphicFrameMkLst>
            <pc:docMk/>
            <pc:sldMk cId="2382406181" sldId="312"/>
            <ac:graphicFrameMk id="4" creationId="{3F834BDE-028F-48AC-A6A7-B0AC65223F7A}"/>
          </ac:graphicFrameMkLst>
        </pc:graphicFrameChg>
      </pc:sldChg>
      <pc:sldChg chg="ord">
        <pc:chgData name="Mike O'Neill" userId="4db8c7d5-0316-4c76-8011-b0536973c37b" providerId="ADAL" clId="{9C5FDA8B-C178-4414-AFA5-23300316E6D2}" dt="2021-08-02T16:15:07.320" v="517"/>
        <pc:sldMkLst>
          <pc:docMk/>
          <pc:sldMk cId="1470083596" sldId="313"/>
        </pc:sldMkLst>
      </pc:sldChg>
      <pc:sldChg chg="ord">
        <pc:chgData name="Mike O'Neill" userId="4db8c7d5-0316-4c76-8011-b0536973c37b" providerId="ADAL" clId="{9C5FDA8B-C178-4414-AFA5-23300316E6D2}" dt="2021-08-02T16:15:07.320" v="517"/>
        <pc:sldMkLst>
          <pc:docMk/>
          <pc:sldMk cId="2089933290" sldId="314"/>
        </pc:sldMkLst>
      </pc:sldChg>
      <pc:sldChg chg="ord">
        <pc:chgData name="Mike O'Neill" userId="4db8c7d5-0316-4c76-8011-b0536973c37b" providerId="ADAL" clId="{9C5FDA8B-C178-4414-AFA5-23300316E6D2}" dt="2021-08-02T16:15:07.320" v="517"/>
        <pc:sldMkLst>
          <pc:docMk/>
          <pc:sldMk cId="3280043200" sldId="315"/>
        </pc:sldMkLst>
      </pc:sldChg>
      <pc:sldChg chg="del">
        <pc:chgData name="Mike O'Neill" userId="4db8c7d5-0316-4c76-8011-b0536973c37b" providerId="ADAL" clId="{9C5FDA8B-C178-4414-AFA5-23300316E6D2}" dt="2021-07-19T21:04:47.717" v="121" actId="47"/>
        <pc:sldMkLst>
          <pc:docMk/>
          <pc:sldMk cId="148647898" sldId="316"/>
        </pc:sldMkLst>
      </pc:sldChg>
      <pc:sldChg chg="addSp delSp modSp new mod ord modClrScheme chgLayout modNotesTx">
        <pc:chgData name="Mike O'Neill" userId="4db8c7d5-0316-4c76-8011-b0536973c37b" providerId="ADAL" clId="{9C5FDA8B-C178-4414-AFA5-23300316E6D2}" dt="2021-08-09T17:40:05.758" v="2378" actId="20577"/>
        <pc:sldMkLst>
          <pc:docMk/>
          <pc:sldMk cId="3433862484" sldId="317"/>
        </pc:sldMkLst>
        <pc:spChg chg="del mod ord">
          <ac:chgData name="Mike O'Neill" userId="4db8c7d5-0316-4c76-8011-b0536973c37b" providerId="ADAL" clId="{9C5FDA8B-C178-4414-AFA5-23300316E6D2}" dt="2021-07-19T20:46:10.279" v="5" actId="700"/>
          <ac:spMkLst>
            <pc:docMk/>
            <pc:sldMk cId="3433862484" sldId="317"/>
            <ac:spMk id="2" creationId="{BDBB30A6-5D1C-482B-BE7B-574655CCC5CA}"/>
          </ac:spMkLst>
        </pc:spChg>
        <pc:spChg chg="add del mod ord">
          <ac:chgData name="Mike O'Neill" userId="4db8c7d5-0316-4c76-8011-b0536973c37b" providerId="ADAL" clId="{9C5FDA8B-C178-4414-AFA5-23300316E6D2}" dt="2021-07-19T20:46:15.311" v="6" actId="700"/>
          <ac:spMkLst>
            <pc:docMk/>
            <pc:sldMk cId="3433862484" sldId="317"/>
            <ac:spMk id="3" creationId="{821A0DBB-AFCD-4BB6-868B-B63741C71781}"/>
          </ac:spMkLst>
        </pc:spChg>
        <pc:spChg chg="add del mod ord">
          <ac:chgData name="Mike O'Neill" userId="4db8c7d5-0316-4c76-8011-b0536973c37b" providerId="ADAL" clId="{9C5FDA8B-C178-4414-AFA5-23300316E6D2}" dt="2021-07-19T20:46:15.311" v="6" actId="700"/>
          <ac:spMkLst>
            <pc:docMk/>
            <pc:sldMk cId="3433862484" sldId="317"/>
            <ac:spMk id="4" creationId="{17A49B7A-2C97-4628-B510-1E7BBD63CBF0}"/>
          </ac:spMkLst>
        </pc:spChg>
        <pc:spChg chg="add del mod ord">
          <ac:chgData name="Mike O'Neill" userId="4db8c7d5-0316-4c76-8011-b0536973c37b" providerId="ADAL" clId="{9C5FDA8B-C178-4414-AFA5-23300316E6D2}" dt="2021-07-19T20:46:15.311" v="6" actId="700"/>
          <ac:spMkLst>
            <pc:docMk/>
            <pc:sldMk cId="3433862484" sldId="317"/>
            <ac:spMk id="5" creationId="{0B60D124-02CB-42C7-9EAA-79AFF81AA164}"/>
          </ac:spMkLst>
        </pc:spChg>
        <pc:spChg chg="add mod ord">
          <ac:chgData name="Mike O'Neill" userId="4db8c7d5-0316-4c76-8011-b0536973c37b" providerId="ADAL" clId="{9C5FDA8B-C178-4414-AFA5-23300316E6D2}" dt="2021-08-09T17:40:05.758" v="2378" actId="20577"/>
          <ac:spMkLst>
            <pc:docMk/>
            <pc:sldMk cId="3433862484" sldId="317"/>
            <ac:spMk id="6" creationId="{E4DB7D80-C50F-4FCB-AD28-2FF2157DAD12}"/>
          </ac:spMkLst>
        </pc:spChg>
        <pc:spChg chg="add mod ord">
          <ac:chgData name="Mike O'Neill" userId="4db8c7d5-0316-4c76-8011-b0536973c37b" providerId="ADAL" clId="{9C5FDA8B-C178-4414-AFA5-23300316E6D2}" dt="2021-08-09T17:31:11.649" v="2178" actId="20577"/>
          <ac:spMkLst>
            <pc:docMk/>
            <pc:sldMk cId="3433862484" sldId="317"/>
            <ac:spMk id="7" creationId="{58153E8D-8C6E-4166-B7E3-E9894841720F}"/>
          </ac:spMkLst>
        </pc:spChg>
        <pc:spChg chg="add del mod">
          <ac:chgData name="Mike O'Neill" userId="4db8c7d5-0316-4c76-8011-b0536973c37b" providerId="ADAL" clId="{9C5FDA8B-C178-4414-AFA5-23300316E6D2}" dt="2021-08-09T17:31:40.786" v="2194" actId="478"/>
          <ac:spMkLst>
            <pc:docMk/>
            <pc:sldMk cId="3433862484" sldId="317"/>
            <ac:spMk id="8" creationId="{3DC97F95-7484-49A0-864B-31831D9599F0}"/>
          </ac:spMkLst>
        </pc:spChg>
        <pc:picChg chg="add mod">
          <ac:chgData name="Mike O'Neill" userId="4db8c7d5-0316-4c76-8011-b0536973c37b" providerId="ADAL" clId="{9C5FDA8B-C178-4414-AFA5-23300316E6D2}" dt="2021-08-09T17:32:52.386" v="2323" actId="962"/>
          <ac:picMkLst>
            <pc:docMk/>
            <pc:sldMk cId="3433862484" sldId="317"/>
            <ac:picMk id="3" creationId="{0391CB51-AF84-4843-A40A-7EDA279A8272}"/>
          </ac:picMkLst>
        </pc:picChg>
        <pc:picChg chg="add mod">
          <ac:chgData name="Mike O'Neill" userId="4db8c7d5-0316-4c76-8011-b0536973c37b" providerId="ADAL" clId="{9C5FDA8B-C178-4414-AFA5-23300316E6D2}" dt="2021-08-09T17:32:42.635" v="2267" actId="962"/>
          <ac:picMkLst>
            <pc:docMk/>
            <pc:sldMk cId="3433862484" sldId="317"/>
            <ac:picMk id="9" creationId="{1C74CDC0-EF16-415A-A3F5-BAA769380FA6}"/>
          </ac:picMkLst>
        </pc:picChg>
      </pc:sldChg>
      <pc:sldChg chg="modSp add del mod">
        <pc:chgData name="Mike O'Neill" userId="4db8c7d5-0316-4c76-8011-b0536973c37b" providerId="ADAL" clId="{9C5FDA8B-C178-4414-AFA5-23300316E6D2}" dt="2021-08-09T21:18:50.740" v="3494" actId="18676"/>
        <pc:sldMkLst>
          <pc:docMk/>
          <pc:sldMk cId="2724533533" sldId="318"/>
        </pc:sldMkLst>
        <pc:spChg chg="mod">
          <ac:chgData name="Mike O'Neill" userId="4db8c7d5-0316-4c76-8011-b0536973c37b" providerId="ADAL" clId="{9C5FDA8B-C178-4414-AFA5-23300316E6D2}" dt="2021-07-19T20:51:09.548" v="82" actId="20577"/>
          <ac:spMkLst>
            <pc:docMk/>
            <pc:sldMk cId="2724533533" sldId="318"/>
            <ac:spMk id="6" creationId="{00000000-0000-0000-0000-000000000000}"/>
          </ac:spMkLst>
        </pc:spChg>
      </pc:sldChg>
      <pc:sldChg chg="addSp delSp modSp add del mod modNotesTx">
        <pc:chgData name="Mike O'Neill" userId="4db8c7d5-0316-4c76-8011-b0536973c37b" providerId="ADAL" clId="{9C5FDA8B-C178-4414-AFA5-23300316E6D2}" dt="2021-08-09T21:18:41.752" v="3492" actId="22"/>
        <pc:sldMkLst>
          <pc:docMk/>
          <pc:sldMk cId="456069771" sldId="319"/>
        </pc:sldMkLst>
        <pc:spChg chg="mod">
          <ac:chgData name="Mike O'Neill" userId="4db8c7d5-0316-4c76-8011-b0536973c37b" providerId="ADAL" clId="{9C5FDA8B-C178-4414-AFA5-23300316E6D2}" dt="2021-08-02T20:38:40.220" v="1950" actId="20577"/>
          <ac:spMkLst>
            <pc:docMk/>
            <pc:sldMk cId="456069771" sldId="319"/>
            <ac:spMk id="6" creationId="{E4DB7D80-C50F-4FCB-AD28-2FF2157DAD12}"/>
          </ac:spMkLst>
        </pc:spChg>
        <pc:spChg chg="del mod">
          <ac:chgData name="Mike O'Neill" userId="4db8c7d5-0316-4c76-8011-b0536973c37b" providerId="ADAL" clId="{9C5FDA8B-C178-4414-AFA5-23300316E6D2}" dt="2021-08-02T20:38:29.207" v="1948" actId="12084"/>
          <ac:spMkLst>
            <pc:docMk/>
            <pc:sldMk cId="456069771" sldId="319"/>
            <ac:spMk id="7" creationId="{58153E8D-8C6E-4166-B7E3-E9894841720F}"/>
          </ac:spMkLst>
        </pc:spChg>
        <pc:graphicFrameChg chg="add mod">
          <ac:chgData name="Mike O'Neill" userId="4db8c7d5-0316-4c76-8011-b0536973c37b" providerId="ADAL" clId="{9C5FDA8B-C178-4414-AFA5-23300316E6D2}" dt="2021-08-02T20:38:29.207" v="1948" actId="12084"/>
          <ac:graphicFrameMkLst>
            <pc:docMk/>
            <pc:sldMk cId="456069771" sldId="319"/>
            <ac:graphicFrameMk id="2" creationId="{55472DAC-5BC2-4A9C-A295-5D57B2A4E50B}"/>
          </ac:graphicFrameMkLst>
        </pc:graphicFrameChg>
      </pc:sldChg>
      <pc:sldChg chg="modSp new del mod ord">
        <pc:chgData name="Mike O'Neill" userId="4db8c7d5-0316-4c76-8011-b0536973c37b" providerId="ADAL" clId="{9C5FDA8B-C178-4414-AFA5-23300316E6D2}" dt="2021-08-02T20:35:21.718" v="1918" actId="47"/>
        <pc:sldMkLst>
          <pc:docMk/>
          <pc:sldMk cId="4267187559" sldId="320"/>
        </pc:sldMkLst>
        <pc:spChg chg="mod">
          <ac:chgData name="Mike O'Neill" userId="4db8c7d5-0316-4c76-8011-b0536973c37b" providerId="ADAL" clId="{9C5FDA8B-C178-4414-AFA5-23300316E6D2}" dt="2021-07-19T21:05:26.454" v="139" actId="20577"/>
          <ac:spMkLst>
            <pc:docMk/>
            <pc:sldMk cId="4267187559" sldId="320"/>
            <ac:spMk id="2" creationId="{96236F01-FB9A-4CB4-87E0-0EEFA0FC1E2F}"/>
          </ac:spMkLst>
        </pc:spChg>
        <pc:spChg chg="mod">
          <ac:chgData name="Mike O'Neill" userId="4db8c7d5-0316-4c76-8011-b0536973c37b" providerId="ADAL" clId="{9C5FDA8B-C178-4414-AFA5-23300316E6D2}" dt="2021-08-02T19:16:12.356" v="648" actId="403"/>
          <ac:spMkLst>
            <pc:docMk/>
            <pc:sldMk cId="4267187559" sldId="320"/>
            <ac:spMk id="3" creationId="{0FF3951C-8207-461A-9733-85F31FC57641}"/>
          </ac:spMkLst>
        </pc:spChg>
      </pc:sldChg>
      <pc:sldChg chg="modSp new del mod">
        <pc:chgData name="Mike O'Neill" userId="4db8c7d5-0316-4c76-8011-b0536973c37b" providerId="ADAL" clId="{9C5FDA8B-C178-4414-AFA5-23300316E6D2}" dt="2021-07-20T02:23:00.907" v="300" actId="47"/>
        <pc:sldMkLst>
          <pc:docMk/>
          <pc:sldMk cId="3887324161" sldId="321"/>
        </pc:sldMkLst>
        <pc:spChg chg="mod">
          <ac:chgData name="Mike O'Neill" userId="4db8c7d5-0316-4c76-8011-b0536973c37b" providerId="ADAL" clId="{9C5FDA8B-C178-4414-AFA5-23300316E6D2}" dt="2021-07-20T01:07:53.417" v="296" actId="20577"/>
          <ac:spMkLst>
            <pc:docMk/>
            <pc:sldMk cId="3887324161" sldId="321"/>
            <ac:spMk id="2" creationId="{2ABF1963-7C28-404A-8236-BD0C66624FF5}"/>
          </ac:spMkLst>
        </pc:spChg>
      </pc:sldChg>
      <pc:sldChg chg="addSp delSp modSp add del mod ord modShow modNotesTx">
        <pc:chgData name="Mike O'Neill" userId="4db8c7d5-0316-4c76-8011-b0536973c37b" providerId="ADAL" clId="{9C5FDA8B-C178-4414-AFA5-23300316E6D2}" dt="2021-08-09T21:18:41.752" v="3492" actId="22"/>
        <pc:sldMkLst>
          <pc:docMk/>
          <pc:sldMk cId="3368126916" sldId="322"/>
        </pc:sldMkLst>
        <pc:spChg chg="mod">
          <ac:chgData name="Mike O'Neill" userId="4db8c7d5-0316-4c76-8011-b0536973c37b" providerId="ADAL" clId="{9C5FDA8B-C178-4414-AFA5-23300316E6D2}" dt="2021-08-02T20:42:52.617" v="2052" actId="20577"/>
          <ac:spMkLst>
            <pc:docMk/>
            <pc:sldMk cId="3368126916" sldId="322"/>
            <ac:spMk id="3" creationId="{D6D4D82E-2586-47B2-95E6-F3AD9FF8B03E}"/>
          </ac:spMkLst>
        </pc:spChg>
        <pc:spChg chg="add del">
          <ac:chgData name="Mike O'Neill" userId="4db8c7d5-0316-4c76-8011-b0536973c37b" providerId="ADAL" clId="{9C5FDA8B-C178-4414-AFA5-23300316E6D2}" dt="2021-08-02T20:42:14.862" v="2042" actId="22"/>
          <ac:spMkLst>
            <pc:docMk/>
            <pc:sldMk cId="3368126916" sldId="322"/>
            <ac:spMk id="7" creationId="{68268CD8-F595-42C1-85B6-4D0ECD7C47BA}"/>
          </ac:spMkLst>
        </pc:spChg>
        <pc:spChg chg="add del mod">
          <ac:chgData name="Mike O'Neill" userId="4db8c7d5-0316-4c76-8011-b0536973c37b" providerId="ADAL" clId="{9C5FDA8B-C178-4414-AFA5-23300316E6D2}" dt="2021-08-02T20:42:19.608" v="2046" actId="478"/>
          <ac:spMkLst>
            <pc:docMk/>
            <pc:sldMk cId="3368126916" sldId="322"/>
            <ac:spMk id="9" creationId="{98EA2B20-BCED-4821-8452-EA660104AB85}"/>
          </ac:spMkLst>
        </pc:spChg>
      </pc:sldChg>
      <pc:sldChg chg="add del modNotesTx">
        <pc:chgData name="Mike O'Neill" userId="4db8c7d5-0316-4c76-8011-b0536973c37b" providerId="ADAL" clId="{9C5FDA8B-C178-4414-AFA5-23300316E6D2}" dt="2021-08-09T21:18:41.752" v="3492" actId="22"/>
        <pc:sldMkLst>
          <pc:docMk/>
          <pc:sldMk cId="4001421690" sldId="323"/>
        </pc:sldMkLst>
      </pc:sldChg>
      <pc:sldChg chg="addSp delSp modSp add del mod modShow modNotesTx">
        <pc:chgData name="Mike O'Neill" userId="4db8c7d5-0316-4c76-8011-b0536973c37b" providerId="ADAL" clId="{9C5FDA8B-C178-4414-AFA5-23300316E6D2}" dt="2021-08-09T21:18:45.210" v="3493" actId="729"/>
        <pc:sldMkLst>
          <pc:docMk/>
          <pc:sldMk cId="4170977863" sldId="324"/>
        </pc:sldMkLst>
        <pc:spChg chg="mod">
          <ac:chgData name="Mike O'Neill" userId="4db8c7d5-0316-4c76-8011-b0536973c37b" providerId="ADAL" clId="{9C5FDA8B-C178-4414-AFA5-23300316E6D2}" dt="2021-08-02T16:18:07.877" v="580" actId="6549"/>
          <ac:spMkLst>
            <pc:docMk/>
            <pc:sldMk cId="4170977863" sldId="324"/>
            <ac:spMk id="2" creationId="{2819A274-3791-49C6-BC9A-CA36B0DFAA6B}"/>
          </ac:spMkLst>
        </pc:spChg>
        <pc:spChg chg="add del mod">
          <ac:chgData name="Mike O'Neill" userId="4db8c7d5-0316-4c76-8011-b0536973c37b" providerId="ADAL" clId="{9C5FDA8B-C178-4414-AFA5-23300316E6D2}" dt="2021-08-02T20:44:45.462" v="2059" actId="12084"/>
          <ac:spMkLst>
            <pc:docMk/>
            <pc:sldMk cId="4170977863" sldId="324"/>
            <ac:spMk id="3" creationId="{10AD338B-071A-4899-A028-E812531CCDE9}"/>
          </ac:spMkLst>
        </pc:spChg>
        <pc:graphicFrameChg chg="add del mod">
          <ac:chgData name="Mike O'Neill" userId="4db8c7d5-0316-4c76-8011-b0536973c37b" providerId="ADAL" clId="{9C5FDA8B-C178-4414-AFA5-23300316E6D2}" dt="2021-08-02T20:44:45.462" v="2059" actId="12084"/>
          <ac:graphicFrameMkLst>
            <pc:docMk/>
            <pc:sldMk cId="4170977863" sldId="324"/>
            <ac:graphicFrameMk id="4" creationId="{341804E1-DAF2-4E91-9A29-2354851DD04C}"/>
          </ac:graphicFrameMkLst>
        </pc:graphicFrameChg>
      </pc:sldChg>
      <pc:sldChg chg="add del">
        <pc:chgData name="Mike O'Neill" userId="4db8c7d5-0316-4c76-8011-b0536973c37b" providerId="ADAL" clId="{9C5FDA8B-C178-4414-AFA5-23300316E6D2}" dt="2021-08-02T20:17:11.163" v="1226" actId="47"/>
        <pc:sldMkLst>
          <pc:docMk/>
          <pc:sldMk cId="3871908247" sldId="325"/>
        </pc:sldMkLst>
      </pc:sldChg>
      <pc:sldChg chg="addSp delSp modSp new mod modClrScheme chgLayout">
        <pc:chgData name="Mike O'Neill" userId="4db8c7d5-0316-4c76-8011-b0536973c37b" providerId="ADAL" clId="{9C5FDA8B-C178-4414-AFA5-23300316E6D2}" dt="2021-08-02T16:12:20.452" v="477" actId="20577"/>
        <pc:sldMkLst>
          <pc:docMk/>
          <pc:sldMk cId="1467376254" sldId="326"/>
        </pc:sldMkLst>
        <pc:spChg chg="del mod ord">
          <ac:chgData name="Mike O'Neill" userId="4db8c7d5-0316-4c76-8011-b0536973c37b" providerId="ADAL" clId="{9C5FDA8B-C178-4414-AFA5-23300316E6D2}" dt="2021-08-02T16:12:08.124" v="459" actId="700"/>
          <ac:spMkLst>
            <pc:docMk/>
            <pc:sldMk cId="1467376254" sldId="326"/>
            <ac:spMk id="2" creationId="{C5221BDF-56C5-436A-87E9-6ED1B1A4EB92}"/>
          </ac:spMkLst>
        </pc:spChg>
        <pc:spChg chg="del mod ord">
          <ac:chgData name="Mike O'Neill" userId="4db8c7d5-0316-4c76-8011-b0536973c37b" providerId="ADAL" clId="{9C5FDA8B-C178-4414-AFA5-23300316E6D2}" dt="2021-08-02T16:12:08.124" v="459" actId="700"/>
          <ac:spMkLst>
            <pc:docMk/>
            <pc:sldMk cId="1467376254" sldId="326"/>
            <ac:spMk id="3" creationId="{0A405BFD-AD90-4BAB-ABA9-8199A7DAAC7D}"/>
          </ac:spMkLst>
        </pc:spChg>
        <pc:spChg chg="add mod ord">
          <ac:chgData name="Mike O'Neill" userId="4db8c7d5-0316-4c76-8011-b0536973c37b" providerId="ADAL" clId="{9C5FDA8B-C178-4414-AFA5-23300316E6D2}" dt="2021-08-02T16:12:20.452" v="477" actId="20577"/>
          <ac:spMkLst>
            <pc:docMk/>
            <pc:sldMk cId="1467376254" sldId="326"/>
            <ac:spMk id="4" creationId="{68588DDB-EF12-48CB-9425-0D361B7A798C}"/>
          </ac:spMkLst>
        </pc:spChg>
        <pc:spChg chg="add mod ord">
          <ac:chgData name="Mike O'Neill" userId="4db8c7d5-0316-4c76-8011-b0536973c37b" providerId="ADAL" clId="{9C5FDA8B-C178-4414-AFA5-23300316E6D2}" dt="2021-08-02T16:12:08.124" v="459" actId="700"/>
          <ac:spMkLst>
            <pc:docMk/>
            <pc:sldMk cId="1467376254" sldId="326"/>
            <ac:spMk id="5" creationId="{33633B33-CE24-4E56-9BF1-064077E3F3C8}"/>
          </ac:spMkLst>
        </pc:spChg>
      </pc:sldChg>
      <pc:sldChg chg="addSp">
        <pc:chgData name="Mike O'Neill" userId="4db8c7d5-0316-4c76-8011-b0536973c37b" providerId="ADAL" clId="{9C5FDA8B-C178-4414-AFA5-23300316E6D2}" dt="2021-08-02T19:28:15.551" v="992"/>
        <pc:sldMkLst>
          <pc:docMk/>
          <pc:sldMk cId="926022766" sldId="327"/>
        </pc:sldMkLst>
        <pc:picChg chg="add">
          <ac:chgData name="Mike O'Neill" userId="4db8c7d5-0316-4c76-8011-b0536973c37b" providerId="ADAL" clId="{9C5FDA8B-C178-4414-AFA5-23300316E6D2}" dt="2021-08-02T19:28:15.551" v="992"/>
          <ac:picMkLst>
            <pc:docMk/>
            <pc:sldMk cId="926022766" sldId="327"/>
            <ac:picMk id="4098" creationId="{121E7E2B-9AA3-4B08-A643-F6A783115E50}"/>
          </ac:picMkLst>
        </pc:picChg>
      </pc:sldChg>
      <pc:sldChg chg="addSp delSp modSp new add del mod ord modNotesTx">
        <pc:chgData name="Mike O'Neill" userId="4db8c7d5-0316-4c76-8011-b0536973c37b" providerId="ADAL" clId="{9C5FDA8B-C178-4414-AFA5-23300316E6D2}" dt="2021-08-09T21:10:12.901" v="3490" actId="47"/>
        <pc:sldMkLst>
          <pc:docMk/>
          <pc:sldMk cId="2165519237" sldId="327"/>
        </pc:sldMkLst>
        <pc:spChg chg="mod">
          <ac:chgData name="Mike O'Neill" userId="4db8c7d5-0316-4c76-8011-b0536973c37b" providerId="ADAL" clId="{9C5FDA8B-C178-4414-AFA5-23300316E6D2}" dt="2021-08-02T16:52:03.055" v="627" actId="20577"/>
          <ac:spMkLst>
            <pc:docMk/>
            <pc:sldMk cId="2165519237" sldId="327"/>
            <ac:spMk id="2" creationId="{9E51A3A7-C50B-4249-8875-1C993E602D71}"/>
          </ac:spMkLst>
        </pc:spChg>
        <pc:spChg chg="mod">
          <ac:chgData name="Mike O'Neill" userId="4db8c7d5-0316-4c76-8011-b0536973c37b" providerId="ADAL" clId="{9C5FDA8B-C178-4414-AFA5-23300316E6D2}" dt="2021-08-02T19:28:14.278" v="991" actId="20577"/>
          <ac:spMkLst>
            <pc:docMk/>
            <pc:sldMk cId="2165519237" sldId="327"/>
            <ac:spMk id="3" creationId="{AC2D5B63-89E1-4F73-BC73-CDD32492A7FD}"/>
          </ac:spMkLst>
        </pc:spChg>
        <pc:spChg chg="add del mod">
          <ac:chgData name="Mike O'Neill" userId="4db8c7d5-0316-4c76-8011-b0536973c37b" providerId="ADAL" clId="{9C5FDA8B-C178-4414-AFA5-23300316E6D2}" dt="2021-08-02T19:23:37.929" v="866" actId="478"/>
          <ac:spMkLst>
            <pc:docMk/>
            <pc:sldMk cId="2165519237" sldId="327"/>
            <ac:spMk id="6" creationId="{958D919F-4B70-4339-93A1-4C343EE86228}"/>
          </ac:spMkLst>
        </pc:spChg>
        <pc:picChg chg="mod">
          <ac:chgData name="Mike O'Neill" userId="4db8c7d5-0316-4c76-8011-b0536973c37b" providerId="ADAL" clId="{9C5FDA8B-C178-4414-AFA5-23300316E6D2}" dt="2021-08-02T19:28:20.997" v="997" actId="1076"/>
          <ac:picMkLst>
            <pc:docMk/>
            <pc:sldMk cId="2165519237" sldId="327"/>
            <ac:picMk id="1026" creationId="{EB7D2DD6-D855-4278-86F6-ED7F054EF3CB}"/>
          </ac:picMkLst>
        </pc:picChg>
        <pc:picChg chg="mod">
          <ac:chgData name="Mike O'Neill" userId="4db8c7d5-0316-4c76-8011-b0536973c37b" providerId="ADAL" clId="{9C5FDA8B-C178-4414-AFA5-23300316E6D2}" dt="2021-08-02T19:28:22.401" v="998" actId="1076"/>
          <ac:picMkLst>
            <pc:docMk/>
            <pc:sldMk cId="2165519237" sldId="327"/>
            <ac:picMk id="2050" creationId="{10747212-27F1-4F17-9E3F-D9349DE47649}"/>
          </ac:picMkLst>
        </pc:picChg>
        <pc:picChg chg="mod">
          <ac:chgData name="Mike O'Neill" userId="4db8c7d5-0316-4c76-8011-b0536973c37b" providerId="ADAL" clId="{9C5FDA8B-C178-4414-AFA5-23300316E6D2}" dt="2021-08-02T19:28:24.290" v="999" actId="1076"/>
          <ac:picMkLst>
            <pc:docMk/>
            <pc:sldMk cId="2165519237" sldId="327"/>
            <ac:picMk id="4098" creationId="{121E7E2B-9AA3-4B08-A643-F6A783115E50}"/>
          </ac:picMkLst>
        </pc:picChg>
      </pc:sldChg>
      <pc:sldChg chg="addSp">
        <pc:chgData name="Mike O'Neill" userId="4db8c7d5-0316-4c76-8011-b0536973c37b" providerId="ADAL" clId="{9C5FDA8B-C178-4414-AFA5-23300316E6D2}" dt="2021-08-02T19:23:02.493" v="836"/>
        <pc:sldMkLst>
          <pc:docMk/>
          <pc:sldMk cId="2303870428" sldId="327"/>
        </pc:sldMkLst>
        <pc:picChg chg="add">
          <ac:chgData name="Mike O'Neill" userId="4db8c7d5-0316-4c76-8011-b0536973c37b" providerId="ADAL" clId="{9C5FDA8B-C178-4414-AFA5-23300316E6D2}" dt="2021-08-02T19:23:02.493" v="836"/>
          <ac:picMkLst>
            <pc:docMk/>
            <pc:sldMk cId="2303870428" sldId="327"/>
            <ac:picMk id="1026" creationId="{EB7D2DD6-D855-4278-86F6-ED7F054EF3CB}"/>
          </ac:picMkLst>
        </pc:picChg>
      </pc:sldChg>
      <pc:sldChg chg="addSp">
        <pc:chgData name="Mike O'Neill" userId="4db8c7d5-0316-4c76-8011-b0536973c37b" providerId="ADAL" clId="{9C5FDA8B-C178-4414-AFA5-23300316E6D2}" dt="2021-08-02T19:24:52.571" v="887"/>
        <pc:sldMkLst>
          <pc:docMk/>
          <pc:sldMk cId="3754329436" sldId="327"/>
        </pc:sldMkLst>
        <pc:picChg chg="add">
          <ac:chgData name="Mike O'Neill" userId="4db8c7d5-0316-4c76-8011-b0536973c37b" providerId="ADAL" clId="{9C5FDA8B-C178-4414-AFA5-23300316E6D2}" dt="2021-08-02T19:24:52.571" v="887"/>
          <ac:picMkLst>
            <pc:docMk/>
            <pc:sldMk cId="3754329436" sldId="327"/>
            <ac:picMk id="2050" creationId="{10747212-27F1-4F17-9E3F-D9349DE47649}"/>
          </ac:picMkLst>
        </pc:picChg>
      </pc:sldChg>
      <pc:sldChg chg="addSp delSp modSp new mod modClrScheme chgLayout modNotesTx">
        <pc:chgData name="Mike O'Neill" userId="4db8c7d5-0316-4c76-8011-b0536973c37b" providerId="ADAL" clId="{9C5FDA8B-C178-4414-AFA5-23300316E6D2}" dt="2021-08-02T20:37:18.676" v="1944" actId="20577"/>
        <pc:sldMkLst>
          <pc:docMk/>
          <pc:sldMk cId="3769172389" sldId="328"/>
        </pc:sldMkLst>
        <pc:spChg chg="del">
          <ac:chgData name="Mike O'Neill" userId="4db8c7d5-0316-4c76-8011-b0536973c37b" providerId="ADAL" clId="{9C5FDA8B-C178-4414-AFA5-23300316E6D2}" dt="2021-08-02T19:26:34.325" v="961" actId="700"/>
          <ac:spMkLst>
            <pc:docMk/>
            <pc:sldMk cId="3769172389" sldId="328"/>
            <ac:spMk id="2" creationId="{D1B06B1A-BF76-46BC-900B-DC77FFF8574A}"/>
          </ac:spMkLst>
        </pc:spChg>
        <pc:spChg chg="del">
          <ac:chgData name="Mike O'Neill" userId="4db8c7d5-0316-4c76-8011-b0536973c37b" providerId="ADAL" clId="{9C5FDA8B-C178-4414-AFA5-23300316E6D2}" dt="2021-08-02T16:53:37.632" v="630"/>
          <ac:spMkLst>
            <pc:docMk/>
            <pc:sldMk cId="3769172389" sldId="328"/>
            <ac:spMk id="3" creationId="{FFDC322E-68EE-4EE1-9517-B8804F01E07D}"/>
          </ac:spMkLst>
        </pc:spChg>
        <pc:spChg chg="add del mod ord">
          <ac:chgData name="Mike O'Neill" userId="4db8c7d5-0316-4c76-8011-b0536973c37b" providerId="ADAL" clId="{9C5FDA8B-C178-4414-AFA5-23300316E6D2}" dt="2021-08-02T19:26:47.261" v="963" actId="700"/>
          <ac:spMkLst>
            <pc:docMk/>
            <pc:sldMk cId="3769172389" sldId="328"/>
            <ac:spMk id="6" creationId="{8EA05499-FC08-4F9E-80DC-425949E232C7}"/>
          </ac:spMkLst>
        </pc:spChg>
        <pc:spChg chg="add mod ord">
          <ac:chgData name="Mike O'Neill" userId="4db8c7d5-0316-4c76-8011-b0536973c37b" providerId="ADAL" clId="{9C5FDA8B-C178-4414-AFA5-23300316E6D2}" dt="2021-08-02T19:27:21.318" v="969"/>
          <ac:spMkLst>
            <pc:docMk/>
            <pc:sldMk cId="3769172389" sldId="328"/>
            <ac:spMk id="7" creationId="{A7435569-5DD7-4D72-96F3-763D8A3A8496}"/>
          </ac:spMkLst>
        </pc:spChg>
        <pc:spChg chg="add mod ord">
          <ac:chgData name="Mike O'Neill" userId="4db8c7d5-0316-4c76-8011-b0536973c37b" providerId="ADAL" clId="{9C5FDA8B-C178-4414-AFA5-23300316E6D2}" dt="2021-08-02T19:27:50.916" v="978" actId="20577"/>
          <ac:spMkLst>
            <pc:docMk/>
            <pc:sldMk cId="3769172389" sldId="328"/>
            <ac:spMk id="8" creationId="{36173B72-5367-4FA5-B976-CE089F8753A3}"/>
          </ac:spMkLst>
        </pc:spChg>
        <pc:spChg chg="add del mod">
          <ac:chgData name="Mike O'Neill" userId="4db8c7d5-0316-4c76-8011-b0536973c37b" providerId="ADAL" clId="{9C5FDA8B-C178-4414-AFA5-23300316E6D2}" dt="2021-08-02T19:29:42.226" v="1016" actId="478"/>
          <ac:spMkLst>
            <pc:docMk/>
            <pc:sldMk cId="3769172389" sldId="328"/>
            <ac:spMk id="10" creationId="{C33FD2D2-829E-46A2-92F5-F6DDA5B58B36}"/>
          </ac:spMkLst>
        </pc:spChg>
        <pc:picChg chg="add mod ord">
          <ac:chgData name="Mike O'Neill" userId="4db8c7d5-0316-4c76-8011-b0536973c37b" providerId="ADAL" clId="{9C5FDA8B-C178-4414-AFA5-23300316E6D2}" dt="2021-08-02T19:27:02.513" v="968" actId="1076"/>
          <ac:picMkLst>
            <pc:docMk/>
            <pc:sldMk cId="3769172389" sldId="328"/>
            <ac:picMk id="5" creationId="{00DFEF48-7D57-4FA1-8E36-92B3B4B00986}"/>
          </ac:picMkLst>
        </pc:picChg>
      </pc:sldChg>
      <pc:sldChg chg="addSp delSp modSp new mod modClrScheme chgLayout modNotesTx">
        <pc:chgData name="Mike O'Neill" userId="4db8c7d5-0316-4c76-8011-b0536973c37b" providerId="ADAL" clId="{9C5FDA8B-C178-4414-AFA5-23300316E6D2}" dt="2021-08-02T20:35:54.677" v="1939" actId="6549"/>
        <pc:sldMkLst>
          <pc:docMk/>
          <pc:sldMk cId="481701437" sldId="329"/>
        </pc:sldMkLst>
        <pc:spChg chg="mod ord">
          <ac:chgData name="Mike O'Neill" userId="4db8c7d5-0316-4c76-8011-b0536973c37b" providerId="ADAL" clId="{9C5FDA8B-C178-4414-AFA5-23300316E6D2}" dt="2021-08-02T20:35:25.844" v="1926" actId="20577"/>
          <ac:spMkLst>
            <pc:docMk/>
            <pc:sldMk cId="481701437" sldId="329"/>
            <ac:spMk id="2" creationId="{2928AAAB-CE90-41DE-A843-754AE57E0335}"/>
          </ac:spMkLst>
        </pc:spChg>
        <pc:spChg chg="del mod ord">
          <ac:chgData name="Mike O'Neill" userId="4db8c7d5-0316-4c76-8011-b0536973c37b" providerId="ADAL" clId="{9C5FDA8B-C178-4414-AFA5-23300316E6D2}" dt="2021-08-02T20:27:25.083" v="1343" actId="478"/>
          <ac:spMkLst>
            <pc:docMk/>
            <pc:sldMk cId="481701437" sldId="329"/>
            <ac:spMk id="3" creationId="{862F3273-9E62-4035-B8C3-3370B42C172E}"/>
          </ac:spMkLst>
        </pc:spChg>
        <pc:spChg chg="add mod ord">
          <ac:chgData name="Mike O'Neill" userId="4db8c7d5-0316-4c76-8011-b0536973c37b" providerId="ADAL" clId="{9C5FDA8B-C178-4414-AFA5-23300316E6D2}" dt="2021-08-02T20:27:38.953" v="1347" actId="6549"/>
          <ac:spMkLst>
            <pc:docMk/>
            <pc:sldMk cId="481701437" sldId="329"/>
            <ac:spMk id="7" creationId="{3FB683F8-222C-4F20-9995-11E948D844EB}"/>
          </ac:spMkLst>
        </pc:spChg>
        <pc:graphicFrameChg chg="add mod modGraphic">
          <ac:chgData name="Mike O'Neill" userId="4db8c7d5-0316-4c76-8011-b0536973c37b" providerId="ADAL" clId="{9C5FDA8B-C178-4414-AFA5-23300316E6D2}" dt="2021-08-02T20:35:08.623" v="1915" actId="20577"/>
          <ac:graphicFrameMkLst>
            <pc:docMk/>
            <pc:sldMk cId="481701437" sldId="329"/>
            <ac:graphicFrameMk id="6" creationId="{496D982C-A5DC-4793-A13F-B1A9171AAD29}"/>
          </ac:graphicFrameMkLst>
        </pc:graphicFrameChg>
        <pc:picChg chg="add mod">
          <ac:chgData name="Mike O'Neill" userId="4db8c7d5-0316-4c76-8011-b0536973c37b" providerId="ADAL" clId="{9C5FDA8B-C178-4414-AFA5-23300316E6D2}" dt="2021-08-02T20:27:36.198" v="1346" actId="1076"/>
          <ac:picMkLst>
            <pc:docMk/>
            <pc:sldMk cId="481701437" sldId="329"/>
            <ac:picMk id="5" creationId="{1379F72A-F111-4C59-837F-B5A96FD9437B}"/>
          </ac:picMkLst>
        </pc:picChg>
      </pc:sldChg>
      <pc:sldChg chg="addSp">
        <pc:chgData name="Mike O'Neill" userId="4db8c7d5-0316-4c76-8011-b0536973c37b" providerId="ADAL" clId="{9C5FDA8B-C178-4414-AFA5-23300316E6D2}" dt="2021-08-02T19:25:46.498" v="952"/>
        <pc:sldMkLst>
          <pc:docMk/>
          <pc:sldMk cId="1382859755" sldId="330"/>
        </pc:sldMkLst>
        <pc:picChg chg="add">
          <ac:chgData name="Mike O'Neill" userId="4db8c7d5-0316-4c76-8011-b0536973c37b" providerId="ADAL" clId="{9C5FDA8B-C178-4414-AFA5-23300316E6D2}" dt="2021-08-02T19:25:46.498" v="952"/>
          <ac:picMkLst>
            <pc:docMk/>
            <pc:sldMk cId="1382859755" sldId="330"/>
            <ac:picMk id="3074" creationId="{25628A0E-243B-48E4-BF10-0BD79E8518C9}"/>
          </ac:picMkLst>
        </pc:picChg>
      </pc:sldChg>
      <pc:sldChg chg="addSp delSp modSp new add del mod ord modNotesTx">
        <pc:chgData name="Mike O'Neill" userId="4db8c7d5-0316-4c76-8011-b0536973c37b" providerId="ADAL" clId="{9C5FDA8B-C178-4414-AFA5-23300316E6D2}" dt="2021-08-02T20:37:26.958" v="1947"/>
        <pc:sldMkLst>
          <pc:docMk/>
          <pc:sldMk cId="3040783500" sldId="330"/>
        </pc:sldMkLst>
        <pc:spChg chg="mod">
          <ac:chgData name="Mike O'Neill" userId="4db8c7d5-0316-4c76-8011-b0536973c37b" providerId="ADAL" clId="{9C5FDA8B-C178-4414-AFA5-23300316E6D2}" dt="2021-08-02T19:25:23.606" v="946" actId="20577"/>
          <ac:spMkLst>
            <pc:docMk/>
            <pc:sldMk cId="3040783500" sldId="330"/>
            <ac:spMk id="2" creationId="{FE2A4383-CBFC-45C1-817F-CF167C87CC5B}"/>
          </ac:spMkLst>
        </pc:spChg>
        <pc:spChg chg="mod">
          <ac:chgData name="Mike O'Neill" userId="4db8c7d5-0316-4c76-8011-b0536973c37b" providerId="ADAL" clId="{9C5FDA8B-C178-4414-AFA5-23300316E6D2}" dt="2021-08-02T19:30:00.884" v="1019" actId="5793"/>
          <ac:spMkLst>
            <pc:docMk/>
            <pc:sldMk cId="3040783500" sldId="330"/>
            <ac:spMk id="3" creationId="{EB4C1CA1-3D2D-4590-97AD-CCCE52A7152C}"/>
          </ac:spMkLst>
        </pc:spChg>
        <pc:spChg chg="add del mod">
          <ac:chgData name="Mike O'Neill" userId="4db8c7d5-0316-4c76-8011-b0536973c37b" providerId="ADAL" clId="{9C5FDA8B-C178-4414-AFA5-23300316E6D2}" dt="2021-08-02T19:25:35.786" v="950" actId="478"/>
          <ac:spMkLst>
            <pc:docMk/>
            <pc:sldMk cId="3040783500" sldId="330"/>
            <ac:spMk id="5" creationId="{BB64F4CE-ACC1-4CF8-8A92-AF58C11D849B}"/>
          </ac:spMkLst>
        </pc:spChg>
        <pc:picChg chg="mod">
          <ac:chgData name="Mike O'Neill" userId="4db8c7d5-0316-4c76-8011-b0536973c37b" providerId="ADAL" clId="{9C5FDA8B-C178-4414-AFA5-23300316E6D2}" dt="2021-08-02T19:25:59.818" v="957" actId="1076"/>
          <ac:picMkLst>
            <pc:docMk/>
            <pc:sldMk cId="3040783500" sldId="330"/>
            <ac:picMk id="3074" creationId="{25628A0E-243B-48E4-BF10-0BD79E8518C9}"/>
          </ac:picMkLst>
        </pc:picChg>
      </pc:sldChg>
      <pc:sldChg chg="modSp new del mod">
        <pc:chgData name="Mike O'Neill" userId="4db8c7d5-0316-4c76-8011-b0536973c37b" providerId="ADAL" clId="{9C5FDA8B-C178-4414-AFA5-23300316E6D2}" dt="2021-08-06T16:22:18.487" v="2088" actId="47"/>
        <pc:sldMkLst>
          <pc:docMk/>
          <pc:sldMk cId="1879818512" sldId="331"/>
        </pc:sldMkLst>
        <pc:spChg chg="mod">
          <ac:chgData name="Mike O'Neill" userId="4db8c7d5-0316-4c76-8011-b0536973c37b" providerId="ADAL" clId="{9C5FDA8B-C178-4414-AFA5-23300316E6D2}" dt="2021-08-06T16:22:10.079" v="2087" actId="20577"/>
          <ac:spMkLst>
            <pc:docMk/>
            <pc:sldMk cId="1879818512" sldId="331"/>
            <ac:spMk id="2" creationId="{FB5E8974-526A-4D11-9F35-E86F7FF7CBB0}"/>
          </ac:spMkLst>
        </pc:spChg>
      </pc:sldChg>
      <pc:sldChg chg="addSp modSp new mod modClrScheme chgLayout">
        <pc:chgData name="Mike O'Neill" userId="4db8c7d5-0316-4c76-8011-b0536973c37b" providerId="ADAL" clId="{9C5FDA8B-C178-4414-AFA5-23300316E6D2}" dt="2021-08-09T18:02:52.504" v="2697" actId="962"/>
        <pc:sldMkLst>
          <pc:docMk/>
          <pc:sldMk cId="3274736108" sldId="331"/>
        </pc:sldMkLst>
        <pc:spChg chg="mod ord">
          <ac:chgData name="Mike O'Neill" userId="4db8c7d5-0316-4c76-8011-b0536973c37b" providerId="ADAL" clId="{9C5FDA8B-C178-4414-AFA5-23300316E6D2}" dt="2021-08-09T18:01:52.370" v="2380" actId="700"/>
          <ac:spMkLst>
            <pc:docMk/>
            <pc:sldMk cId="3274736108" sldId="331"/>
            <ac:spMk id="2" creationId="{46273A3F-6B55-4976-8209-B5EC72D92492}"/>
          </ac:spMkLst>
        </pc:spChg>
        <pc:spChg chg="mod ord">
          <ac:chgData name="Mike O'Neill" userId="4db8c7d5-0316-4c76-8011-b0536973c37b" providerId="ADAL" clId="{9C5FDA8B-C178-4414-AFA5-23300316E6D2}" dt="2021-08-09T18:02:05.437" v="2410" actId="20577"/>
          <ac:spMkLst>
            <pc:docMk/>
            <pc:sldMk cId="3274736108" sldId="331"/>
            <ac:spMk id="3" creationId="{F5284A0C-93F6-4740-AEC4-AC5C7F4C2DE7}"/>
          </ac:spMkLst>
        </pc:spChg>
        <pc:spChg chg="add mod ord">
          <ac:chgData name="Mike O'Neill" userId="4db8c7d5-0316-4c76-8011-b0536973c37b" providerId="ADAL" clId="{9C5FDA8B-C178-4414-AFA5-23300316E6D2}" dt="2021-08-09T18:02:01.918" v="2409" actId="20577"/>
          <ac:spMkLst>
            <pc:docMk/>
            <pc:sldMk cId="3274736108" sldId="331"/>
            <ac:spMk id="6" creationId="{84C3C81D-2565-4BCD-9D7F-35513641BAF0}"/>
          </ac:spMkLst>
        </pc:spChg>
        <pc:picChg chg="add mod">
          <ac:chgData name="Mike O'Neill" userId="4db8c7d5-0316-4c76-8011-b0536973c37b" providerId="ADAL" clId="{9C5FDA8B-C178-4414-AFA5-23300316E6D2}" dt="2021-08-09T18:02:52.504" v="2697" actId="962"/>
          <ac:picMkLst>
            <pc:docMk/>
            <pc:sldMk cId="3274736108" sldId="331"/>
            <ac:picMk id="5" creationId="{5EF8C301-F75B-44C4-B62F-1BCB37D1F9C5}"/>
          </ac:picMkLst>
        </pc:picChg>
        <pc:picChg chg="add mod">
          <ac:chgData name="Mike O'Neill" userId="4db8c7d5-0316-4c76-8011-b0536973c37b" providerId="ADAL" clId="{9C5FDA8B-C178-4414-AFA5-23300316E6D2}" dt="2021-08-09T18:02:32.578" v="2587" actId="962"/>
          <ac:picMkLst>
            <pc:docMk/>
            <pc:sldMk cId="3274736108" sldId="331"/>
            <ac:picMk id="8" creationId="{30C1C9F0-7136-48A9-AD0B-F3C46DD3CD7B}"/>
          </ac:picMkLst>
        </pc:picChg>
      </pc:sldChg>
      <pc:sldChg chg="addSp delSp modSp new del mod modClrScheme chgLayout modNotesTx">
        <pc:chgData name="Mike O'Neill" userId="4db8c7d5-0316-4c76-8011-b0536973c37b" providerId="ADAL" clId="{9C5FDA8B-C178-4414-AFA5-23300316E6D2}" dt="2021-08-09T21:19:10.754" v="3496" actId="47"/>
        <pc:sldMkLst>
          <pc:docMk/>
          <pc:sldMk cId="1563025506" sldId="332"/>
        </pc:sldMkLst>
        <pc:spChg chg="del mod ord">
          <ac:chgData name="Mike O'Neill" userId="4db8c7d5-0316-4c76-8011-b0536973c37b" providerId="ADAL" clId="{9C5FDA8B-C178-4414-AFA5-23300316E6D2}" dt="2021-08-09T19:06:46.241" v="2699" actId="700"/>
          <ac:spMkLst>
            <pc:docMk/>
            <pc:sldMk cId="1563025506" sldId="332"/>
            <ac:spMk id="2" creationId="{F8BE863F-195C-4D14-956F-219B8D6505A0}"/>
          </ac:spMkLst>
        </pc:spChg>
        <pc:spChg chg="del mod ord">
          <ac:chgData name="Mike O'Neill" userId="4db8c7d5-0316-4c76-8011-b0536973c37b" providerId="ADAL" clId="{9C5FDA8B-C178-4414-AFA5-23300316E6D2}" dt="2021-08-09T19:06:46.241" v="2699" actId="700"/>
          <ac:spMkLst>
            <pc:docMk/>
            <pc:sldMk cId="1563025506" sldId="332"/>
            <ac:spMk id="3" creationId="{F1A3A263-1CA1-483C-A270-FB43DDF84731}"/>
          </ac:spMkLst>
        </pc:spChg>
        <pc:spChg chg="del">
          <ac:chgData name="Mike O'Neill" userId="4db8c7d5-0316-4c76-8011-b0536973c37b" providerId="ADAL" clId="{9C5FDA8B-C178-4414-AFA5-23300316E6D2}" dt="2021-08-09T19:06:46.241" v="2699" actId="700"/>
          <ac:spMkLst>
            <pc:docMk/>
            <pc:sldMk cId="1563025506" sldId="332"/>
            <ac:spMk id="4" creationId="{4AD67E56-AC5A-43BE-BE62-8D26CF77B38C}"/>
          </ac:spMkLst>
        </pc:spChg>
        <pc:spChg chg="add mod ord">
          <ac:chgData name="Mike O'Neill" userId="4db8c7d5-0316-4c76-8011-b0536973c37b" providerId="ADAL" clId="{9C5FDA8B-C178-4414-AFA5-23300316E6D2}" dt="2021-08-09T19:07:02.410" v="2717" actId="20577"/>
          <ac:spMkLst>
            <pc:docMk/>
            <pc:sldMk cId="1563025506" sldId="332"/>
            <ac:spMk id="5" creationId="{2984B752-00E8-4B8F-A761-2B1206FA6E23}"/>
          </ac:spMkLst>
        </pc:spChg>
        <pc:spChg chg="add mod ord">
          <ac:chgData name="Mike O'Neill" userId="4db8c7d5-0316-4c76-8011-b0536973c37b" providerId="ADAL" clId="{9C5FDA8B-C178-4414-AFA5-23300316E6D2}" dt="2021-08-09T19:53:11.941" v="2973" actId="14100"/>
          <ac:spMkLst>
            <pc:docMk/>
            <pc:sldMk cId="1563025506" sldId="332"/>
            <ac:spMk id="6" creationId="{026010DB-C34A-44F9-A281-56FA0F72B487}"/>
          </ac:spMkLst>
        </pc:spChg>
        <pc:picChg chg="add mod">
          <ac:chgData name="Mike O'Neill" userId="4db8c7d5-0316-4c76-8011-b0536973c37b" providerId="ADAL" clId="{9C5FDA8B-C178-4414-AFA5-23300316E6D2}" dt="2021-08-09T19:53:15.709" v="2975" actId="14100"/>
          <ac:picMkLst>
            <pc:docMk/>
            <pc:sldMk cId="1563025506" sldId="332"/>
            <ac:picMk id="8" creationId="{8F87DECA-B4F2-465A-83D5-8A0AC4FFA98A}"/>
          </ac:picMkLst>
        </pc:picChg>
      </pc:sldChg>
      <pc:sldChg chg="addSp modSp new mod">
        <pc:chgData name="Mike O'Neill" userId="4db8c7d5-0316-4c76-8011-b0536973c37b" providerId="ADAL" clId="{9C5FDA8B-C178-4414-AFA5-23300316E6D2}" dt="2021-08-09T20:06:49.687" v="3470" actId="20577"/>
        <pc:sldMkLst>
          <pc:docMk/>
          <pc:sldMk cId="2085169951" sldId="333"/>
        </pc:sldMkLst>
        <pc:spChg chg="mod">
          <ac:chgData name="Mike O'Neill" userId="4db8c7d5-0316-4c76-8011-b0536973c37b" providerId="ADAL" clId="{9C5FDA8B-C178-4414-AFA5-23300316E6D2}" dt="2021-08-09T19:53:31.052" v="2991" actId="20577"/>
          <ac:spMkLst>
            <pc:docMk/>
            <pc:sldMk cId="2085169951" sldId="333"/>
            <ac:spMk id="2" creationId="{7991F465-24C2-4CD3-AC1A-A7AF0164D250}"/>
          </ac:spMkLst>
        </pc:spChg>
        <pc:spChg chg="mod">
          <ac:chgData name="Mike O'Neill" userId="4db8c7d5-0316-4c76-8011-b0536973c37b" providerId="ADAL" clId="{9C5FDA8B-C178-4414-AFA5-23300316E6D2}" dt="2021-08-09T20:06:49.687" v="3470" actId="20577"/>
          <ac:spMkLst>
            <pc:docMk/>
            <pc:sldMk cId="2085169951" sldId="333"/>
            <ac:spMk id="3" creationId="{CF8A73D9-3349-41CA-A9C5-D6DCEBAF6ACA}"/>
          </ac:spMkLst>
        </pc:spChg>
        <pc:picChg chg="add mod modCrop">
          <ac:chgData name="Mike O'Neill" userId="4db8c7d5-0316-4c76-8011-b0536973c37b" providerId="ADAL" clId="{9C5FDA8B-C178-4414-AFA5-23300316E6D2}" dt="2021-08-09T20:06:38.154" v="3428" actId="1076"/>
          <ac:picMkLst>
            <pc:docMk/>
            <pc:sldMk cId="2085169951" sldId="333"/>
            <ac:picMk id="5" creationId="{36C69A30-E1E2-4464-BE7E-AA6959EDF65D}"/>
          </ac:picMkLst>
        </pc:picChg>
      </pc:sldChg>
      <pc:sldChg chg="addSp delSp modSp new del mod">
        <pc:chgData name="Mike O'Neill" userId="4db8c7d5-0316-4c76-8011-b0536973c37b" providerId="ADAL" clId="{9C5FDA8B-C178-4414-AFA5-23300316E6D2}" dt="2021-08-09T21:18:59.853" v="3495" actId="47"/>
        <pc:sldMkLst>
          <pc:docMk/>
          <pc:sldMk cId="1997827787" sldId="334"/>
        </pc:sldMkLst>
        <pc:spChg chg="mod">
          <ac:chgData name="Mike O'Neill" userId="4db8c7d5-0316-4c76-8011-b0536973c37b" providerId="ADAL" clId="{9C5FDA8B-C178-4414-AFA5-23300316E6D2}" dt="2021-08-09T20:02:59.695" v="3025" actId="20577"/>
          <ac:spMkLst>
            <pc:docMk/>
            <pc:sldMk cId="1997827787" sldId="334"/>
            <ac:spMk id="2" creationId="{F58582D7-01D9-44CA-946E-A5E29916D344}"/>
          </ac:spMkLst>
        </pc:spChg>
        <pc:picChg chg="add del mod">
          <ac:chgData name="Mike O'Neill" userId="4db8c7d5-0316-4c76-8011-b0536973c37b" providerId="ADAL" clId="{9C5FDA8B-C178-4414-AFA5-23300316E6D2}" dt="2021-08-09T20:07:47.438" v="3475" actId="21"/>
          <ac:picMkLst>
            <pc:docMk/>
            <pc:sldMk cId="1997827787" sldId="334"/>
            <ac:picMk id="5" creationId="{BA24493B-29C0-4D12-BF0F-CA1132A85129}"/>
          </ac:picMkLst>
        </pc:picChg>
        <pc:picChg chg="add mod">
          <ac:chgData name="Mike O'Neill" userId="4db8c7d5-0316-4c76-8011-b0536973c37b" providerId="ADAL" clId="{9C5FDA8B-C178-4414-AFA5-23300316E6D2}" dt="2021-08-09T20:09:16.482" v="3486" actId="962"/>
          <ac:picMkLst>
            <pc:docMk/>
            <pc:sldMk cId="1997827787" sldId="334"/>
            <ac:picMk id="7" creationId="{2721A310-D2CB-4D3A-97E9-A60B092A9FEE}"/>
          </ac:picMkLst>
        </pc:picChg>
      </pc:sldChg>
      <pc:sldChg chg="addSp modSp new del mod">
        <pc:chgData name="Mike O'Neill" userId="4db8c7d5-0316-4c76-8011-b0536973c37b" providerId="ADAL" clId="{9C5FDA8B-C178-4414-AFA5-23300316E6D2}" dt="2021-08-09T21:19:12.843" v="3497" actId="47"/>
        <pc:sldMkLst>
          <pc:docMk/>
          <pc:sldMk cId="44337445" sldId="335"/>
        </pc:sldMkLst>
        <pc:spChg chg="mod">
          <ac:chgData name="Mike O'Neill" userId="4db8c7d5-0316-4c76-8011-b0536973c37b" providerId="ADAL" clId="{9C5FDA8B-C178-4414-AFA5-23300316E6D2}" dt="2021-08-09T19:53:43.201" v="3013" actId="20577"/>
          <ac:spMkLst>
            <pc:docMk/>
            <pc:sldMk cId="44337445" sldId="335"/>
            <ac:spMk id="2" creationId="{CDC6F21A-DE0A-4B0F-A038-E4D814512CD9}"/>
          </ac:spMkLst>
        </pc:spChg>
        <pc:spChg chg="mod">
          <ac:chgData name="Mike O'Neill" userId="4db8c7d5-0316-4c76-8011-b0536973c37b" providerId="ADAL" clId="{9C5FDA8B-C178-4414-AFA5-23300316E6D2}" dt="2021-08-09T20:04:33.786" v="3239" actId="20577"/>
          <ac:spMkLst>
            <pc:docMk/>
            <pc:sldMk cId="44337445" sldId="335"/>
            <ac:spMk id="3" creationId="{A4BB971E-ECFA-4675-BFFF-C2AD9A620ADE}"/>
          </ac:spMkLst>
        </pc:spChg>
        <pc:picChg chg="add mod">
          <ac:chgData name="Mike O'Neill" userId="4db8c7d5-0316-4c76-8011-b0536973c37b" providerId="ADAL" clId="{9C5FDA8B-C178-4414-AFA5-23300316E6D2}" dt="2021-08-09T20:04:01.613" v="3108" actId="1076"/>
          <ac:picMkLst>
            <pc:docMk/>
            <pc:sldMk cId="44337445" sldId="335"/>
            <ac:picMk id="5" creationId="{BC421F03-8995-4E64-AC19-5FA27EFA921A}"/>
          </ac:picMkLst>
        </pc:picChg>
      </pc:sldChg>
      <pc:sldChg chg="addSp delSp modSp new add del mod ord">
        <pc:chgData name="Mike O'Neill" userId="4db8c7d5-0316-4c76-8011-b0536973c37b" providerId="ADAL" clId="{9C5FDA8B-C178-4414-AFA5-23300316E6D2}" dt="2021-08-09T21:22:41.844" v="3501"/>
        <pc:sldMkLst>
          <pc:docMk/>
          <pc:sldMk cId="3985667662" sldId="336"/>
        </pc:sldMkLst>
        <pc:spChg chg="del">
          <ac:chgData name="Mike O'Neill" userId="4db8c7d5-0316-4c76-8011-b0536973c37b" providerId="ADAL" clId="{9C5FDA8B-C178-4414-AFA5-23300316E6D2}" dt="2021-08-09T20:08:24.372" v="3477" actId="22"/>
          <ac:spMkLst>
            <pc:docMk/>
            <pc:sldMk cId="3985667662" sldId="336"/>
            <ac:spMk id="3" creationId="{8C755CD2-4DD0-4C7D-8304-3F2425DFA246}"/>
          </ac:spMkLst>
        </pc:spChg>
        <pc:picChg chg="add">
          <ac:chgData name="Mike O'Neill" userId="4db8c7d5-0316-4c76-8011-b0536973c37b" providerId="ADAL" clId="{9C5FDA8B-C178-4414-AFA5-23300316E6D2}" dt="2021-08-09T20:07:48.817" v="3476" actId="22"/>
          <ac:picMkLst>
            <pc:docMk/>
            <pc:sldMk cId="3985667662" sldId="336"/>
            <ac:picMk id="5" creationId="{F48C2B86-F4F4-4852-A803-5214BEC360EB}"/>
          </ac:picMkLst>
        </pc:picChg>
        <pc:picChg chg="add mod ord">
          <ac:chgData name="Mike O'Neill" userId="4db8c7d5-0316-4c76-8011-b0536973c37b" providerId="ADAL" clId="{9C5FDA8B-C178-4414-AFA5-23300316E6D2}" dt="2021-08-09T20:08:24.958" v="3479" actId="962"/>
          <ac:picMkLst>
            <pc:docMk/>
            <pc:sldMk cId="3985667662" sldId="336"/>
            <ac:picMk id="7" creationId="{BB43F5B6-6094-4FE2-A51E-8B68C9D7E44C}"/>
          </ac:picMkLst>
        </pc:picChg>
        <pc:picChg chg="add mod">
          <ac:chgData name="Mike O'Neill" userId="4db8c7d5-0316-4c76-8011-b0536973c37b" providerId="ADAL" clId="{9C5FDA8B-C178-4414-AFA5-23300316E6D2}" dt="2021-08-09T20:08:49.739" v="3483" actId="1076"/>
          <ac:picMkLst>
            <pc:docMk/>
            <pc:sldMk cId="3985667662" sldId="336"/>
            <ac:picMk id="9" creationId="{EB746ED4-6E02-47CA-8193-113E1B7EDFEC}"/>
          </ac:picMkLst>
        </pc:picChg>
      </pc:sldChg>
      <pc:sldMasterChg chg="modSldLayout">
        <pc:chgData name="Mike O'Neill" userId="4db8c7d5-0316-4c76-8011-b0536973c37b" providerId="ADAL" clId="{9C5FDA8B-C178-4414-AFA5-23300316E6D2}" dt="2021-08-02T16:04:47.733" v="354" actId="20577"/>
        <pc:sldMasterMkLst>
          <pc:docMk/>
          <pc:sldMasterMk cId="4173179292" sldId="2147483648"/>
        </pc:sldMasterMkLst>
        <pc:sldLayoutChg chg="modSp mod">
          <pc:chgData name="Mike O'Neill" userId="4db8c7d5-0316-4c76-8011-b0536973c37b" providerId="ADAL" clId="{9C5FDA8B-C178-4414-AFA5-23300316E6D2}" dt="2021-08-02T16:04:47.733" v="354" actId="20577"/>
          <pc:sldLayoutMkLst>
            <pc:docMk/>
            <pc:sldMasterMk cId="4173179292" sldId="2147483648"/>
            <pc:sldLayoutMk cId="2400702111" sldId="2147483656"/>
          </pc:sldLayoutMkLst>
          <pc:spChg chg="mod">
            <ac:chgData name="Mike O'Neill" userId="4db8c7d5-0316-4c76-8011-b0536973c37b" providerId="ADAL" clId="{9C5FDA8B-C178-4414-AFA5-23300316E6D2}" dt="2021-08-02T16:04:47.733" v="354" actId="20577"/>
            <ac:spMkLst>
              <pc:docMk/>
              <pc:sldMasterMk cId="4173179292" sldId="2147483648"/>
              <pc:sldLayoutMk cId="2400702111" sldId="2147483656"/>
              <ac:spMk id="11" creationId="{4F94614A-5991-48D1-BAE0-C77F81393F2D}"/>
            </ac:spMkLst>
          </pc:spChg>
        </pc:sldLayoutChg>
      </pc:sldMasterChg>
    </pc:docChg>
  </pc:docChgLst>
  <pc:docChgLst>
    <pc:chgData name="Ted Sdoukos" userId="452f4c21-798d-4542-a98f-cd5dbb1e97e3" providerId="ADAL" clId="{BD9D160C-D4E4-4089-82D8-B33B040A16FE}"/>
    <pc:docChg chg="modSld">
      <pc:chgData name="Ted Sdoukos" userId="452f4c21-798d-4542-a98f-cd5dbb1e97e3" providerId="ADAL" clId="{BD9D160C-D4E4-4089-82D8-B33B040A16FE}" dt="2022-02-09T23:05:16.746" v="1" actId="729"/>
      <pc:docMkLst>
        <pc:docMk/>
      </pc:docMkLst>
      <pc:sldChg chg="mod modShow">
        <pc:chgData name="Ted Sdoukos" userId="452f4c21-798d-4542-a98f-cd5dbb1e97e3" providerId="ADAL" clId="{BD9D160C-D4E4-4089-82D8-B33B040A16FE}" dt="2022-02-09T23:05:16.746" v="1" actId="729"/>
        <pc:sldMkLst>
          <pc:docMk/>
          <pc:sldMk cId="3753523671" sldId="360"/>
        </pc:sldMkLst>
      </pc:sldChg>
    </pc:docChg>
  </pc:docChgLst>
  <pc:docChgLst>
    <pc:chgData name="Kory Thacher (APPS / POWERSHELL)" userId="995eb0f2-f21c-467c-a947-4f8fc26d0f2e" providerId="ADAL" clId="{B21A3472-82D9-4F04-AAB5-A1CD1834797C}"/>
    <pc:docChg chg="">
      <pc:chgData name="Kory Thacher (APPS / POWERSHELL)" userId="995eb0f2-f21c-467c-a947-4f8fc26d0f2e" providerId="ADAL" clId="{B21A3472-82D9-4F04-AAB5-A1CD1834797C}" dt="2021-08-18T23:04:55.847" v="0"/>
      <pc:docMkLst>
        <pc:docMk/>
      </pc:docMkLst>
      <pc:sldChg chg="addCm">
        <pc:chgData name="Kory Thacher (APPS / POWERSHELL)" userId="995eb0f2-f21c-467c-a947-4f8fc26d0f2e" providerId="ADAL" clId="{B21A3472-82D9-4F04-AAB5-A1CD1834797C}" dt="2021-08-18T23:04:55.847" v="0"/>
        <pc:sldMkLst>
          <pc:docMk/>
          <pc:sldMk cId="3040783500" sldId="330"/>
        </pc:sldMkLst>
      </pc:sldChg>
    </pc:docChg>
  </pc:docChgLst>
  <pc:docChgLst>
    <pc:chgData name="Kory Thacher (APPS / POWERSHELL)" userId="995eb0f2-f21c-467c-a947-4f8fc26d0f2e" providerId="ADAL" clId="{DE054CB8-BA24-472D-921B-3AF0C71E8B06}"/>
    <pc:docChg chg="undo redo custSel addSld delSld modSld sldOrd addSection modSection">
      <pc:chgData name="Kory Thacher (APPS / POWERSHELL)" userId="995eb0f2-f21c-467c-a947-4f8fc26d0f2e" providerId="ADAL" clId="{DE054CB8-BA24-472D-921B-3AF0C71E8B06}" dt="2021-09-30T22:52:22.173" v="3895" actId="47"/>
      <pc:docMkLst>
        <pc:docMk/>
      </pc:docMkLst>
      <pc:sldChg chg="modSp mod ord">
        <pc:chgData name="Kory Thacher (APPS / POWERSHELL)" userId="995eb0f2-f21c-467c-a947-4f8fc26d0f2e" providerId="ADAL" clId="{DE054CB8-BA24-472D-921B-3AF0C71E8B06}" dt="2021-09-30T22:42:52.031" v="3795"/>
        <pc:sldMkLst>
          <pc:docMk/>
          <pc:sldMk cId="1515139851" sldId="273"/>
        </pc:sldMkLst>
        <pc:spChg chg="mod">
          <ac:chgData name="Kory Thacher (APPS / POWERSHELL)" userId="995eb0f2-f21c-467c-a947-4f8fc26d0f2e" providerId="ADAL" clId="{DE054CB8-BA24-472D-921B-3AF0C71E8B06}" dt="2021-09-30T22:40:20.265" v="3682" actId="20577"/>
          <ac:spMkLst>
            <pc:docMk/>
            <pc:sldMk cId="1515139851" sldId="273"/>
            <ac:spMk id="6" creationId="{00000000-0000-0000-0000-000000000000}"/>
          </ac:spMkLst>
        </pc:spChg>
      </pc:sldChg>
      <pc:sldChg chg="modSp modNotesTx">
        <pc:chgData name="Kory Thacher (APPS / POWERSHELL)" userId="995eb0f2-f21c-467c-a947-4f8fc26d0f2e" providerId="ADAL" clId="{DE054CB8-BA24-472D-921B-3AF0C71E8B06}" dt="2021-09-30T18:34:11.250" v="618" actId="20577"/>
        <pc:sldMkLst>
          <pc:docMk/>
          <pc:sldMk cId="1118951384" sldId="275"/>
        </pc:sldMkLst>
        <pc:graphicFrameChg chg="mod">
          <ac:chgData name="Kory Thacher (APPS / POWERSHELL)" userId="995eb0f2-f21c-467c-a947-4f8fc26d0f2e" providerId="ADAL" clId="{DE054CB8-BA24-472D-921B-3AF0C71E8B06}" dt="2021-09-30T17:59:24.489" v="9" actId="115"/>
          <ac:graphicFrameMkLst>
            <pc:docMk/>
            <pc:sldMk cId="1118951384" sldId="275"/>
            <ac:graphicFrameMk id="4" creationId="{F7E4D8ED-66CB-44F7-BA75-20A3D914683F}"/>
          </ac:graphicFrameMkLst>
        </pc:graphicFrameChg>
      </pc:sldChg>
      <pc:sldChg chg="ord">
        <pc:chgData name="Kory Thacher (APPS / POWERSHELL)" userId="995eb0f2-f21c-467c-a947-4f8fc26d0f2e" providerId="ADAL" clId="{DE054CB8-BA24-472D-921B-3AF0C71E8B06}" dt="2021-09-30T18:06:02.224" v="17"/>
        <pc:sldMkLst>
          <pc:docMk/>
          <pc:sldMk cId="4006278816" sldId="279"/>
        </pc:sldMkLst>
      </pc:sldChg>
      <pc:sldChg chg="del">
        <pc:chgData name="Kory Thacher (APPS / POWERSHELL)" userId="995eb0f2-f21c-467c-a947-4f8fc26d0f2e" providerId="ADAL" clId="{DE054CB8-BA24-472D-921B-3AF0C71E8B06}" dt="2021-09-30T18:29:39" v="339" actId="47"/>
        <pc:sldMkLst>
          <pc:docMk/>
          <pc:sldMk cId="953258012" sldId="298"/>
        </pc:sldMkLst>
      </pc:sldChg>
      <pc:sldChg chg="modNotesTx">
        <pc:chgData name="Kory Thacher (APPS / POWERSHELL)" userId="995eb0f2-f21c-467c-a947-4f8fc26d0f2e" providerId="ADAL" clId="{DE054CB8-BA24-472D-921B-3AF0C71E8B06}" dt="2021-09-30T18:30:43.039" v="549"/>
        <pc:sldMkLst>
          <pc:docMk/>
          <pc:sldMk cId="1602068736" sldId="299"/>
        </pc:sldMkLst>
      </pc:sldChg>
      <pc:sldChg chg="modSp mod">
        <pc:chgData name="Kory Thacher (APPS / POWERSHELL)" userId="995eb0f2-f21c-467c-a947-4f8fc26d0f2e" providerId="ADAL" clId="{DE054CB8-BA24-472D-921B-3AF0C71E8B06}" dt="2021-09-30T18:16:34.732" v="210" actId="20577"/>
        <pc:sldMkLst>
          <pc:docMk/>
          <pc:sldMk cId="3518894022" sldId="308"/>
        </pc:sldMkLst>
        <pc:spChg chg="mod">
          <ac:chgData name="Kory Thacher (APPS / POWERSHELL)" userId="995eb0f2-f21c-467c-a947-4f8fc26d0f2e" providerId="ADAL" clId="{DE054CB8-BA24-472D-921B-3AF0C71E8B06}" dt="2021-09-30T18:16:34.732" v="210" actId="20577"/>
          <ac:spMkLst>
            <pc:docMk/>
            <pc:sldMk cId="3518894022" sldId="308"/>
            <ac:spMk id="6" creationId="{57F21D56-4AF5-4BA9-830A-68C97D8DA718}"/>
          </ac:spMkLst>
        </pc:spChg>
      </pc:sldChg>
      <pc:sldChg chg="modSp ord">
        <pc:chgData name="Kory Thacher (APPS / POWERSHELL)" userId="995eb0f2-f21c-467c-a947-4f8fc26d0f2e" providerId="ADAL" clId="{DE054CB8-BA24-472D-921B-3AF0C71E8B06}" dt="2021-09-30T18:49:24.914" v="1048" actId="20577"/>
        <pc:sldMkLst>
          <pc:docMk/>
          <pc:sldMk cId="602721421" sldId="310"/>
        </pc:sldMkLst>
        <pc:graphicFrameChg chg="mod">
          <ac:chgData name="Kory Thacher (APPS / POWERSHELL)" userId="995eb0f2-f21c-467c-a947-4f8fc26d0f2e" providerId="ADAL" clId="{DE054CB8-BA24-472D-921B-3AF0C71E8B06}" dt="2021-09-30T18:49:24.914" v="1048" actId="20577"/>
          <ac:graphicFrameMkLst>
            <pc:docMk/>
            <pc:sldMk cId="602721421" sldId="310"/>
            <ac:graphicFrameMk id="6" creationId="{6925F76B-5073-4502-830C-D5242225BC69}"/>
          </ac:graphicFrameMkLst>
        </pc:graphicFrameChg>
      </pc:sldChg>
      <pc:sldChg chg="ord">
        <pc:chgData name="Kory Thacher (APPS / POWERSHELL)" userId="995eb0f2-f21c-467c-a947-4f8fc26d0f2e" providerId="ADAL" clId="{DE054CB8-BA24-472D-921B-3AF0C71E8B06}" dt="2021-09-30T18:02:13.137" v="11"/>
        <pc:sldMkLst>
          <pc:docMk/>
          <pc:sldMk cId="2382406181" sldId="312"/>
        </pc:sldMkLst>
      </pc:sldChg>
      <pc:sldChg chg="del">
        <pc:chgData name="Kory Thacher (APPS / POWERSHELL)" userId="995eb0f2-f21c-467c-a947-4f8fc26d0f2e" providerId="ADAL" clId="{DE054CB8-BA24-472D-921B-3AF0C71E8B06}" dt="2021-09-30T18:50:56.482" v="1049" actId="47"/>
        <pc:sldMkLst>
          <pc:docMk/>
          <pc:sldMk cId="2089933290" sldId="314"/>
        </pc:sldMkLst>
      </pc:sldChg>
      <pc:sldChg chg="del">
        <pc:chgData name="Kory Thacher (APPS / POWERSHELL)" userId="995eb0f2-f21c-467c-a947-4f8fc26d0f2e" providerId="ADAL" clId="{DE054CB8-BA24-472D-921B-3AF0C71E8B06}" dt="2021-09-30T21:43:38.830" v="2258" actId="47"/>
        <pc:sldMkLst>
          <pc:docMk/>
          <pc:sldMk cId="456069771" sldId="319"/>
        </pc:sldMkLst>
      </pc:sldChg>
      <pc:sldChg chg="del">
        <pc:chgData name="Kory Thacher (APPS / POWERSHELL)" userId="995eb0f2-f21c-467c-a947-4f8fc26d0f2e" providerId="ADAL" clId="{DE054CB8-BA24-472D-921B-3AF0C71E8B06}" dt="2021-09-30T22:20:46.050" v="2866" actId="47"/>
        <pc:sldMkLst>
          <pc:docMk/>
          <pc:sldMk cId="3368126916" sldId="322"/>
        </pc:sldMkLst>
      </pc:sldChg>
      <pc:sldChg chg="del">
        <pc:chgData name="Kory Thacher (APPS / POWERSHELL)" userId="995eb0f2-f21c-467c-a947-4f8fc26d0f2e" providerId="ADAL" clId="{DE054CB8-BA24-472D-921B-3AF0C71E8B06}" dt="2021-09-30T21:45:06.780" v="2261" actId="47"/>
        <pc:sldMkLst>
          <pc:docMk/>
          <pc:sldMk cId="4001421690" sldId="323"/>
        </pc:sldMkLst>
      </pc:sldChg>
      <pc:sldChg chg="del">
        <pc:chgData name="Kory Thacher (APPS / POWERSHELL)" userId="995eb0f2-f21c-467c-a947-4f8fc26d0f2e" providerId="ADAL" clId="{DE054CB8-BA24-472D-921B-3AF0C71E8B06}" dt="2021-09-30T22:17:55.260" v="2814" actId="47"/>
        <pc:sldMkLst>
          <pc:docMk/>
          <pc:sldMk cId="4170977863" sldId="324"/>
        </pc:sldMkLst>
      </pc:sldChg>
      <pc:sldChg chg="addSp delSp modSp del mod ord">
        <pc:chgData name="Kory Thacher (APPS / POWERSHELL)" userId="995eb0f2-f21c-467c-a947-4f8fc26d0f2e" providerId="ADAL" clId="{DE054CB8-BA24-472D-921B-3AF0C71E8B06}" dt="2021-09-30T21:34:14.808" v="2235" actId="47"/>
        <pc:sldMkLst>
          <pc:docMk/>
          <pc:sldMk cId="1467376254" sldId="326"/>
        </pc:sldMkLst>
        <pc:spChg chg="mod">
          <ac:chgData name="Kory Thacher (APPS / POWERSHELL)" userId="995eb0f2-f21c-467c-a947-4f8fc26d0f2e" providerId="ADAL" clId="{DE054CB8-BA24-472D-921B-3AF0C71E8B06}" dt="2021-09-30T18:58:19.704" v="1162" actId="20577"/>
          <ac:spMkLst>
            <pc:docMk/>
            <pc:sldMk cId="1467376254" sldId="326"/>
            <ac:spMk id="4" creationId="{68588DDB-EF12-48CB-9425-0D361B7A798C}"/>
          </ac:spMkLst>
        </pc:spChg>
        <pc:spChg chg="del mod">
          <ac:chgData name="Kory Thacher (APPS / POWERSHELL)" userId="995eb0f2-f21c-467c-a947-4f8fc26d0f2e" providerId="ADAL" clId="{DE054CB8-BA24-472D-921B-3AF0C71E8B06}" dt="2021-09-30T19:26:49.273" v="1565" actId="12084"/>
          <ac:spMkLst>
            <pc:docMk/>
            <pc:sldMk cId="1467376254" sldId="326"/>
            <ac:spMk id="5" creationId="{33633B33-CE24-4E56-9BF1-064077E3F3C8}"/>
          </ac:spMkLst>
        </pc:spChg>
        <pc:graphicFrameChg chg="add mod modGraphic">
          <ac:chgData name="Kory Thacher (APPS / POWERSHELL)" userId="995eb0f2-f21c-467c-a947-4f8fc26d0f2e" providerId="ADAL" clId="{DE054CB8-BA24-472D-921B-3AF0C71E8B06}" dt="2021-09-30T19:28:11.130" v="1571" actId="12100"/>
          <ac:graphicFrameMkLst>
            <pc:docMk/>
            <pc:sldMk cId="1467376254" sldId="326"/>
            <ac:graphicFrameMk id="2" creationId="{740EC26E-B7E1-4A1E-9E7A-EA3B17E49D3D}"/>
          </ac:graphicFrameMkLst>
        </pc:graphicFrameChg>
      </pc:sldChg>
      <pc:sldChg chg="del ord">
        <pc:chgData name="Kory Thacher (APPS / POWERSHELL)" userId="995eb0f2-f21c-467c-a947-4f8fc26d0f2e" providerId="ADAL" clId="{DE054CB8-BA24-472D-921B-3AF0C71E8B06}" dt="2021-09-30T21:38:55.935" v="2245" actId="47"/>
        <pc:sldMkLst>
          <pc:docMk/>
          <pc:sldMk cId="3769172389" sldId="328"/>
        </pc:sldMkLst>
      </pc:sldChg>
      <pc:sldChg chg="del ord">
        <pc:chgData name="Kory Thacher (APPS / POWERSHELL)" userId="995eb0f2-f21c-467c-a947-4f8fc26d0f2e" providerId="ADAL" clId="{DE054CB8-BA24-472D-921B-3AF0C71E8B06}" dt="2021-09-30T22:35:54.430" v="3576" actId="47"/>
        <pc:sldMkLst>
          <pc:docMk/>
          <pc:sldMk cId="481701437" sldId="329"/>
        </pc:sldMkLst>
      </pc:sldChg>
      <pc:sldChg chg="del ord">
        <pc:chgData name="Kory Thacher (APPS / POWERSHELL)" userId="995eb0f2-f21c-467c-a947-4f8fc26d0f2e" providerId="ADAL" clId="{DE054CB8-BA24-472D-921B-3AF0C71E8B06}" dt="2021-09-30T21:38:30.130" v="2244" actId="47"/>
        <pc:sldMkLst>
          <pc:docMk/>
          <pc:sldMk cId="3040783500" sldId="330"/>
        </pc:sldMkLst>
      </pc:sldChg>
      <pc:sldChg chg="addSp delSp modSp mod modNotesTx">
        <pc:chgData name="Kory Thacher (APPS / POWERSHELL)" userId="995eb0f2-f21c-467c-a947-4f8fc26d0f2e" providerId="ADAL" clId="{DE054CB8-BA24-472D-921B-3AF0C71E8B06}" dt="2021-09-30T18:48:08.737" v="1046" actId="20577"/>
        <pc:sldMkLst>
          <pc:docMk/>
          <pc:sldMk cId="3274736108" sldId="331"/>
        </pc:sldMkLst>
        <pc:spChg chg="del mod">
          <ac:chgData name="Kory Thacher (APPS / POWERSHELL)" userId="995eb0f2-f21c-467c-a947-4f8fc26d0f2e" providerId="ADAL" clId="{DE054CB8-BA24-472D-921B-3AF0C71E8B06}" dt="2021-09-30T18:43:02.403" v="641" actId="478"/>
          <ac:spMkLst>
            <pc:docMk/>
            <pc:sldMk cId="3274736108" sldId="331"/>
            <ac:spMk id="3" creationId="{F5284A0C-93F6-4740-AEC4-AC5C7F4C2DE7}"/>
          </ac:spMkLst>
        </pc:spChg>
        <pc:spChg chg="del">
          <ac:chgData name="Kory Thacher (APPS / POWERSHELL)" userId="995eb0f2-f21c-467c-a947-4f8fc26d0f2e" providerId="ADAL" clId="{DE054CB8-BA24-472D-921B-3AF0C71E8B06}" dt="2021-09-30T18:39:13.390" v="633" actId="478"/>
          <ac:spMkLst>
            <pc:docMk/>
            <pc:sldMk cId="3274736108" sldId="331"/>
            <ac:spMk id="6" creationId="{84C3C81D-2565-4BCD-9D7F-35513641BAF0}"/>
          </ac:spMkLst>
        </pc:spChg>
        <pc:spChg chg="add del mod">
          <ac:chgData name="Kory Thacher (APPS / POWERSHELL)" userId="995eb0f2-f21c-467c-a947-4f8fc26d0f2e" providerId="ADAL" clId="{DE054CB8-BA24-472D-921B-3AF0C71E8B06}" dt="2021-09-30T18:39:16.850" v="634" actId="478"/>
          <ac:spMkLst>
            <pc:docMk/>
            <pc:sldMk cId="3274736108" sldId="331"/>
            <ac:spMk id="7" creationId="{D36159CC-59CE-4FE9-93C0-5B153BF9ED53}"/>
          </ac:spMkLst>
        </pc:spChg>
        <pc:spChg chg="add del mod">
          <ac:chgData name="Kory Thacher (APPS / POWERSHELL)" userId="995eb0f2-f21c-467c-a947-4f8fc26d0f2e" providerId="ADAL" clId="{DE054CB8-BA24-472D-921B-3AF0C71E8B06}" dt="2021-09-30T18:46:13.694" v="827" actId="12084"/>
          <ac:spMkLst>
            <pc:docMk/>
            <pc:sldMk cId="3274736108" sldId="331"/>
            <ac:spMk id="10" creationId="{114BA996-D2FD-48FD-8D4C-03C99FBB41E9}"/>
          </ac:spMkLst>
        </pc:spChg>
        <pc:graphicFrameChg chg="add mod">
          <ac:chgData name="Kory Thacher (APPS / POWERSHELL)" userId="995eb0f2-f21c-467c-a947-4f8fc26d0f2e" providerId="ADAL" clId="{DE054CB8-BA24-472D-921B-3AF0C71E8B06}" dt="2021-09-30T18:47:07.781" v="848" actId="255"/>
          <ac:graphicFrameMkLst>
            <pc:docMk/>
            <pc:sldMk cId="3274736108" sldId="331"/>
            <ac:graphicFrameMk id="11" creationId="{CB78EA1A-6BB5-47FC-B6E6-EA909822053E}"/>
          </ac:graphicFrameMkLst>
        </pc:graphicFrameChg>
        <pc:picChg chg="mod">
          <ac:chgData name="Kory Thacher (APPS / POWERSHELL)" userId="995eb0f2-f21c-467c-a947-4f8fc26d0f2e" providerId="ADAL" clId="{DE054CB8-BA24-472D-921B-3AF0C71E8B06}" dt="2021-09-30T18:44:47.834" v="702" actId="1076"/>
          <ac:picMkLst>
            <pc:docMk/>
            <pc:sldMk cId="3274736108" sldId="331"/>
            <ac:picMk id="5" creationId="{5EF8C301-F75B-44C4-B62F-1BCB37D1F9C5}"/>
          </ac:picMkLst>
        </pc:picChg>
        <pc:picChg chg="del">
          <ac:chgData name="Kory Thacher (APPS / POWERSHELL)" userId="995eb0f2-f21c-467c-a947-4f8fc26d0f2e" providerId="ADAL" clId="{DE054CB8-BA24-472D-921B-3AF0C71E8B06}" dt="2021-09-30T18:39:10.041" v="632" actId="478"/>
          <ac:picMkLst>
            <pc:docMk/>
            <pc:sldMk cId="3274736108" sldId="331"/>
            <ac:picMk id="8" creationId="{30C1C9F0-7136-48A9-AD0B-F3C46DD3CD7B}"/>
          </ac:picMkLst>
        </pc:picChg>
        <pc:picChg chg="mod">
          <ac:chgData name="Kory Thacher (APPS / POWERSHELL)" userId="995eb0f2-f21c-467c-a947-4f8fc26d0f2e" providerId="ADAL" clId="{DE054CB8-BA24-472D-921B-3AF0C71E8B06}" dt="2021-09-30T18:44:38.793" v="699" actId="1037"/>
          <ac:picMkLst>
            <pc:docMk/>
            <pc:sldMk cId="3274736108" sldId="331"/>
            <ac:picMk id="9" creationId="{257A76AD-E9CC-4D78-9682-AAE38A21DF56}"/>
          </ac:picMkLst>
        </pc:picChg>
      </pc:sldChg>
      <pc:sldChg chg="addSp delSp modSp del mod ord">
        <pc:chgData name="Kory Thacher (APPS / POWERSHELL)" userId="995eb0f2-f21c-467c-a947-4f8fc26d0f2e" providerId="ADAL" clId="{DE054CB8-BA24-472D-921B-3AF0C71E8B06}" dt="2021-09-30T18:54:16.098" v="1052" actId="47"/>
        <pc:sldMkLst>
          <pc:docMk/>
          <pc:sldMk cId="2085169951" sldId="333"/>
        </pc:sldMkLst>
        <pc:spChg chg="del">
          <ac:chgData name="Kory Thacher (APPS / POWERSHELL)" userId="995eb0f2-f21c-467c-a947-4f8fc26d0f2e" providerId="ADAL" clId="{DE054CB8-BA24-472D-921B-3AF0C71E8B06}" dt="2021-09-30T18:54:10.059" v="1050" actId="478"/>
          <ac:spMkLst>
            <pc:docMk/>
            <pc:sldMk cId="2085169951" sldId="333"/>
            <ac:spMk id="3" creationId="{CF8A73D9-3349-41CA-A9C5-D6DCEBAF6ACA}"/>
          </ac:spMkLst>
        </pc:spChg>
        <pc:spChg chg="add mod">
          <ac:chgData name="Kory Thacher (APPS / POWERSHELL)" userId="995eb0f2-f21c-467c-a947-4f8fc26d0f2e" providerId="ADAL" clId="{DE054CB8-BA24-472D-921B-3AF0C71E8B06}" dt="2021-09-30T18:54:10.059" v="1050" actId="478"/>
          <ac:spMkLst>
            <pc:docMk/>
            <pc:sldMk cId="2085169951" sldId="333"/>
            <ac:spMk id="6" creationId="{37A4C008-0628-4D4E-8E24-5EB4B8E70FB2}"/>
          </ac:spMkLst>
        </pc:spChg>
        <pc:picChg chg="del">
          <ac:chgData name="Kory Thacher (APPS / POWERSHELL)" userId="995eb0f2-f21c-467c-a947-4f8fc26d0f2e" providerId="ADAL" clId="{DE054CB8-BA24-472D-921B-3AF0C71E8B06}" dt="2021-09-30T18:54:12.296" v="1051" actId="478"/>
          <ac:picMkLst>
            <pc:docMk/>
            <pc:sldMk cId="2085169951" sldId="333"/>
            <ac:picMk id="5" creationId="{36C69A30-E1E2-4464-BE7E-AA6959EDF65D}"/>
          </ac:picMkLst>
        </pc:picChg>
      </pc:sldChg>
      <pc:sldChg chg="del">
        <pc:chgData name="Kory Thacher (APPS / POWERSHELL)" userId="995eb0f2-f21c-467c-a947-4f8fc26d0f2e" providerId="ADAL" clId="{DE054CB8-BA24-472D-921B-3AF0C71E8B06}" dt="2021-09-30T21:45:29.949" v="2262" actId="47"/>
        <pc:sldMkLst>
          <pc:docMk/>
          <pc:sldMk cId="3985667662" sldId="336"/>
        </pc:sldMkLst>
      </pc:sldChg>
      <pc:sldChg chg="delSp modSp add del mod modShow modNotesTx">
        <pc:chgData name="Kory Thacher (APPS / POWERSHELL)" userId="995eb0f2-f21c-467c-a947-4f8fc26d0f2e" providerId="ADAL" clId="{DE054CB8-BA24-472D-921B-3AF0C71E8B06}" dt="2021-09-30T22:52:22.173" v="3895" actId="47"/>
        <pc:sldMkLst>
          <pc:docMk/>
          <pc:sldMk cId="3480892465" sldId="337"/>
        </pc:sldMkLst>
        <pc:spChg chg="del">
          <ac:chgData name="Kory Thacher (APPS / POWERSHELL)" userId="995eb0f2-f21c-467c-a947-4f8fc26d0f2e" providerId="ADAL" clId="{DE054CB8-BA24-472D-921B-3AF0C71E8B06}" dt="2021-09-17T18:17:11.081" v="4" actId="478"/>
          <ac:spMkLst>
            <pc:docMk/>
            <pc:sldMk cId="3480892465" sldId="337"/>
            <ac:spMk id="7" creationId="{825A3BFB-5023-4DA8-A1A3-68B350641DAB}"/>
          </ac:spMkLst>
        </pc:spChg>
        <pc:spChg chg="del">
          <ac:chgData name="Kory Thacher (APPS / POWERSHELL)" userId="995eb0f2-f21c-467c-a947-4f8fc26d0f2e" providerId="ADAL" clId="{DE054CB8-BA24-472D-921B-3AF0C71E8B06}" dt="2021-09-17T18:17:20.873" v="6" actId="478"/>
          <ac:spMkLst>
            <pc:docMk/>
            <pc:sldMk cId="3480892465" sldId="337"/>
            <ac:spMk id="8" creationId="{A074714C-ED47-4BCD-A656-22A7E307A2B0}"/>
          </ac:spMkLst>
        </pc:spChg>
        <pc:spChg chg="del">
          <ac:chgData name="Kory Thacher (APPS / POWERSHELL)" userId="995eb0f2-f21c-467c-a947-4f8fc26d0f2e" providerId="ADAL" clId="{DE054CB8-BA24-472D-921B-3AF0C71E8B06}" dt="2021-09-30T19:29:32.901" v="1685" actId="478"/>
          <ac:spMkLst>
            <pc:docMk/>
            <pc:sldMk cId="3480892465" sldId="337"/>
            <ac:spMk id="9" creationId="{EC848DF7-721E-4C80-BBB3-92BB5356B653}"/>
          </ac:spMkLst>
        </pc:spChg>
        <pc:spChg chg="del">
          <ac:chgData name="Kory Thacher (APPS / POWERSHELL)" userId="995eb0f2-f21c-467c-a947-4f8fc26d0f2e" providerId="ADAL" clId="{DE054CB8-BA24-472D-921B-3AF0C71E8B06}" dt="2021-09-17T18:17:18.121" v="5" actId="478"/>
          <ac:spMkLst>
            <pc:docMk/>
            <pc:sldMk cId="3480892465" sldId="337"/>
            <ac:spMk id="10" creationId="{41B67724-C179-4CD8-BA3D-7A093103D751}"/>
          </ac:spMkLst>
        </pc:spChg>
        <pc:spChg chg="del">
          <ac:chgData name="Kory Thacher (APPS / POWERSHELL)" userId="995eb0f2-f21c-467c-a947-4f8fc26d0f2e" providerId="ADAL" clId="{DE054CB8-BA24-472D-921B-3AF0C71E8B06}" dt="2021-09-17T18:17:07.609" v="3" actId="478"/>
          <ac:spMkLst>
            <pc:docMk/>
            <pc:sldMk cId="3480892465" sldId="337"/>
            <ac:spMk id="11" creationId="{9CFFA1B2-9897-4F5A-8E74-8F36627BF151}"/>
          </ac:spMkLst>
        </pc:spChg>
        <pc:spChg chg="mod">
          <ac:chgData name="Kory Thacher (APPS / POWERSHELL)" userId="995eb0f2-f21c-467c-a947-4f8fc26d0f2e" providerId="ADAL" clId="{DE054CB8-BA24-472D-921B-3AF0C71E8B06}" dt="2021-09-30T19:30:55.298" v="1704" actId="14100"/>
          <ac:spMkLst>
            <pc:docMk/>
            <pc:sldMk cId="3480892465" sldId="337"/>
            <ac:spMk id="13" creationId="{A6B245DE-899A-400A-BC70-330B65502B93}"/>
          </ac:spMkLst>
        </pc:spChg>
        <pc:spChg chg="mod">
          <ac:chgData name="Kory Thacher (APPS / POWERSHELL)" userId="995eb0f2-f21c-467c-a947-4f8fc26d0f2e" providerId="ADAL" clId="{DE054CB8-BA24-472D-921B-3AF0C71E8B06}" dt="2021-09-30T19:30:29.670" v="1697" actId="14100"/>
          <ac:spMkLst>
            <pc:docMk/>
            <pc:sldMk cId="3480892465" sldId="337"/>
            <ac:spMk id="14" creationId="{54FFE20A-90EC-432F-A913-80AD57E16890}"/>
          </ac:spMkLst>
        </pc:spChg>
        <pc:spChg chg="mod">
          <ac:chgData name="Kory Thacher (APPS / POWERSHELL)" userId="995eb0f2-f21c-467c-a947-4f8fc26d0f2e" providerId="ADAL" clId="{DE054CB8-BA24-472D-921B-3AF0C71E8B06}" dt="2021-09-30T19:30:38.405" v="1700" actId="14100"/>
          <ac:spMkLst>
            <pc:docMk/>
            <pc:sldMk cId="3480892465" sldId="337"/>
            <ac:spMk id="15" creationId="{362998D0-6046-4EF6-9958-DB86220E18DE}"/>
          </ac:spMkLst>
        </pc:spChg>
        <pc:spChg chg="del">
          <ac:chgData name="Kory Thacher (APPS / POWERSHELL)" userId="995eb0f2-f21c-467c-a947-4f8fc26d0f2e" providerId="ADAL" clId="{DE054CB8-BA24-472D-921B-3AF0C71E8B06}" dt="2021-09-17T18:17:05.178" v="1" actId="478"/>
          <ac:spMkLst>
            <pc:docMk/>
            <pc:sldMk cId="3480892465" sldId="337"/>
            <ac:spMk id="16" creationId="{D7269240-CDE9-4C1F-AA5D-EDCB42E3AB5D}"/>
          </ac:spMkLst>
        </pc:spChg>
        <pc:spChg chg="del">
          <ac:chgData name="Kory Thacher (APPS / POWERSHELL)" userId="995eb0f2-f21c-467c-a947-4f8fc26d0f2e" providerId="ADAL" clId="{DE054CB8-BA24-472D-921B-3AF0C71E8B06}" dt="2021-09-30T19:29:43.382" v="1687" actId="478"/>
          <ac:spMkLst>
            <pc:docMk/>
            <pc:sldMk cId="3480892465" sldId="337"/>
            <ac:spMk id="17" creationId="{92246B0C-F4B6-452B-990B-A934C8798022}"/>
          </ac:spMkLst>
        </pc:spChg>
        <pc:spChg chg="del">
          <ac:chgData name="Kory Thacher (APPS / POWERSHELL)" userId="995eb0f2-f21c-467c-a947-4f8fc26d0f2e" providerId="ADAL" clId="{DE054CB8-BA24-472D-921B-3AF0C71E8B06}" dt="2021-09-17T18:17:06.193" v="2" actId="478"/>
          <ac:spMkLst>
            <pc:docMk/>
            <pc:sldMk cId="3480892465" sldId="337"/>
            <ac:spMk id="18" creationId="{BBCC98BA-3B09-4853-9D48-90C82630CC19}"/>
          </ac:spMkLst>
        </pc:spChg>
        <pc:picChg chg="mod">
          <ac:chgData name="Kory Thacher (APPS / POWERSHELL)" userId="995eb0f2-f21c-467c-a947-4f8fc26d0f2e" providerId="ADAL" clId="{DE054CB8-BA24-472D-921B-3AF0C71E8B06}" dt="2021-09-30T19:30:11.113" v="1691" actId="1076"/>
          <ac:picMkLst>
            <pc:docMk/>
            <pc:sldMk cId="3480892465" sldId="337"/>
            <ac:picMk id="12" creationId="{4B06F802-C5E6-4F16-AADE-797B8DB70083}"/>
          </ac:picMkLst>
        </pc:picChg>
      </pc:sldChg>
      <pc:sldChg chg="modSp add mod addCm modCm modNotesTx">
        <pc:chgData name="Kory Thacher (APPS / POWERSHELL)" userId="995eb0f2-f21c-467c-a947-4f8fc26d0f2e" providerId="ADAL" clId="{DE054CB8-BA24-472D-921B-3AF0C71E8B06}" dt="2021-09-30T18:35:13.077" v="623" actId="1037"/>
        <pc:sldMkLst>
          <pc:docMk/>
          <pc:sldMk cId="647186436" sldId="338"/>
        </pc:sldMkLst>
        <pc:graphicFrameChg chg="mod">
          <ac:chgData name="Kory Thacher (APPS / POWERSHELL)" userId="995eb0f2-f21c-467c-a947-4f8fc26d0f2e" providerId="ADAL" clId="{DE054CB8-BA24-472D-921B-3AF0C71E8B06}" dt="2021-09-30T18:35:13.077" v="623" actId="1037"/>
          <ac:graphicFrameMkLst>
            <pc:docMk/>
            <pc:sldMk cId="647186436" sldId="338"/>
            <ac:graphicFrameMk id="9" creationId="{4E15B5D6-0673-4365-B6C9-E2855129C6C1}"/>
          </ac:graphicFrameMkLst>
        </pc:graphicFrameChg>
      </pc:sldChg>
      <pc:sldChg chg="del">
        <pc:chgData name="Kory Thacher (APPS / POWERSHELL)" userId="995eb0f2-f21c-467c-a947-4f8fc26d0f2e" providerId="ADAL" clId="{DE054CB8-BA24-472D-921B-3AF0C71E8B06}" dt="2021-09-30T18:36:31.444" v="625" actId="47"/>
        <pc:sldMkLst>
          <pc:docMk/>
          <pc:sldMk cId="1073546468" sldId="339"/>
        </pc:sldMkLst>
      </pc:sldChg>
      <pc:sldChg chg="addSp delSp modSp mod">
        <pc:chgData name="Kory Thacher (APPS / POWERSHELL)" userId="995eb0f2-f21c-467c-a947-4f8fc26d0f2e" providerId="ADAL" clId="{DE054CB8-BA24-472D-921B-3AF0C71E8B06}" dt="2021-09-30T22:41:23.514" v="3739"/>
        <pc:sldMkLst>
          <pc:docMk/>
          <pc:sldMk cId="2727583874" sldId="339"/>
        </pc:sldMkLst>
        <pc:spChg chg="mod">
          <ac:chgData name="Kory Thacher (APPS / POWERSHELL)" userId="995eb0f2-f21c-467c-a947-4f8fc26d0f2e" providerId="ADAL" clId="{DE054CB8-BA24-472D-921B-3AF0C71E8B06}" dt="2021-09-30T22:39:33.410" v="3654" actId="20577"/>
          <ac:spMkLst>
            <pc:docMk/>
            <pc:sldMk cId="2727583874" sldId="339"/>
            <ac:spMk id="2" creationId="{7991F465-24C2-4CD3-AC1A-A7AF0164D250}"/>
          </ac:spMkLst>
        </pc:spChg>
        <pc:spChg chg="del">
          <ac:chgData name="Kory Thacher (APPS / POWERSHELL)" userId="995eb0f2-f21c-467c-a947-4f8fc26d0f2e" providerId="ADAL" clId="{DE054CB8-BA24-472D-921B-3AF0C71E8B06}" dt="2021-09-30T18:54:28.610" v="1053" actId="478"/>
          <ac:spMkLst>
            <pc:docMk/>
            <pc:sldMk cId="2727583874" sldId="339"/>
            <ac:spMk id="3" creationId="{CF8A73D9-3349-41CA-A9C5-D6DCEBAF6ACA}"/>
          </ac:spMkLst>
        </pc:spChg>
        <pc:spChg chg="add del mod">
          <ac:chgData name="Kory Thacher (APPS / POWERSHELL)" userId="995eb0f2-f21c-467c-a947-4f8fc26d0f2e" providerId="ADAL" clId="{DE054CB8-BA24-472D-921B-3AF0C71E8B06}" dt="2021-09-30T18:54:31.024" v="1054" actId="478"/>
          <ac:spMkLst>
            <pc:docMk/>
            <pc:sldMk cId="2727583874" sldId="339"/>
            <ac:spMk id="7" creationId="{E44BDD71-B5D1-43CF-8F81-99F4A1F58A25}"/>
          </ac:spMkLst>
        </pc:spChg>
        <pc:spChg chg="add mod">
          <ac:chgData name="Kory Thacher (APPS / POWERSHELL)" userId="995eb0f2-f21c-467c-a947-4f8fc26d0f2e" providerId="ADAL" clId="{DE054CB8-BA24-472D-921B-3AF0C71E8B06}" dt="2021-09-30T22:41:23.514" v="3739"/>
          <ac:spMkLst>
            <pc:docMk/>
            <pc:sldMk cId="2727583874" sldId="339"/>
            <ac:spMk id="8" creationId="{F00ADA4F-AE02-45FC-A78E-6DFEE650B447}"/>
          </ac:spMkLst>
        </pc:spChg>
        <pc:spChg chg="add mod">
          <ac:chgData name="Kory Thacher (APPS / POWERSHELL)" userId="995eb0f2-f21c-467c-a947-4f8fc26d0f2e" providerId="ADAL" clId="{DE054CB8-BA24-472D-921B-3AF0C71E8B06}" dt="2021-09-30T18:56:44.543" v="1125" actId="13822"/>
          <ac:spMkLst>
            <pc:docMk/>
            <pc:sldMk cId="2727583874" sldId="339"/>
            <ac:spMk id="9" creationId="{E1138837-371D-464B-95A6-659D23221209}"/>
          </ac:spMkLst>
        </pc:spChg>
        <pc:spChg chg="add mod">
          <ac:chgData name="Kory Thacher (APPS / POWERSHELL)" userId="995eb0f2-f21c-467c-a947-4f8fc26d0f2e" providerId="ADAL" clId="{DE054CB8-BA24-472D-921B-3AF0C71E8B06}" dt="2021-09-30T18:57:35.889" v="1155" actId="113"/>
          <ac:spMkLst>
            <pc:docMk/>
            <pc:sldMk cId="2727583874" sldId="339"/>
            <ac:spMk id="10" creationId="{DD335BBA-213D-465B-8252-E15D3A4C0C47}"/>
          </ac:spMkLst>
        </pc:spChg>
        <pc:picChg chg="mod">
          <ac:chgData name="Kory Thacher (APPS / POWERSHELL)" userId="995eb0f2-f21c-467c-a947-4f8fc26d0f2e" providerId="ADAL" clId="{DE054CB8-BA24-472D-921B-3AF0C71E8B06}" dt="2021-09-30T18:54:58.472" v="1077" actId="1035"/>
          <ac:picMkLst>
            <pc:docMk/>
            <pc:sldMk cId="2727583874" sldId="339"/>
            <ac:picMk id="6" creationId="{0A489338-BA69-423E-A2A9-85E4EE658587}"/>
          </ac:picMkLst>
        </pc:picChg>
      </pc:sldChg>
      <pc:sldChg chg="addSp delSp modSp add del mod delCm">
        <pc:chgData name="Kory Thacher (APPS / POWERSHELL)" userId="995eb0f2-f21c-467c-a947-4f8fc26d0f2e" providerId="ADAL" clId="{DE054CB8-BA24-472D-921B-3AF0C71E8B06}" dt="2021-09-30T19:12:25.974" v="1249" actId="47"/>
        <pc:sldMkLst>
          <pc:docMk/>
          <pc:sldMk cId="71421364" sldId="340"/>
        </pc:sldMkLst>
        <pc:spChg chg="mod">
          <ac:chgData name="Kory Thacher (APPS / POWERSHELL)" userId="995eb0f2-f21c-467c-a947-4f8fc26d0f2e" providerId="ADAL" clId="{DE054CB8-BA24-472D-921B-3AF0C71E8B06}" dt="2021-09-30T19:08:25.014" v="1237"/>
          <ac:spMkLst>
            <pc:docMk/>
            <pc:sldMk cId="71421364" sldId="340"/>
            <ac:spMk id="2" creationId="{FE2A4383-CBFC-45C1-817F-CF167C87CC5B}"/>
          </ac:spMkLst>
        </pc:spChg>
        <pc:spChg chg="del">
          <ac:chgData name="Kory Thacher (APPS / POWERSHELL)" userId="995eb0f2-f21c-467c-a947-4f8fc26d0f2e" providerId="ADAL" clId="{DE054CB8-BA24-472D-921B-3AF0C71E8B06}" dt="2021-09-30T19:03:49.697" v="1179" actId="478"/>
          <ac:spMkLst>
            <pc:docMk/>
            <pc:sldMk cId="71421364" sldId="340"/>
            <ac:spMk id="3" creationId="{EB4C1CA1-3D2D-4590-97AD-CCCE52A7152C}"/>
          </ac:spMkLst>
        </pc:spChg>
        <pc:spChg chg="add del mod">
          <ac:chgData name="Kory Thacher (APPS / POWERSHELL)" userId="995eb0f2-f21c-467c-a947-4f8fc26d0f2e" providerId="ADAL" clId="{DE054CB8-BA24-472D-921B-3AF0C71E8B06}" dt="2021-09-30T19:03:51.383" v="1180" actId="478"/>
          <ac:spMkLst>
            <pc:docMk/>
            <pc:sldMk cId="71421364" sldId="340"/>
            <ac:spMk id="5" creationId="{4D233733-E845-46B4-971E-DEC5B3C51E00}"/>
          </ac:spMkLst>
        </pc:spChg>
        <pc:picChg chg="add del mod modCrop">
          <ac:chgData name="Kory Thacher (APPS / POWERSHELL)" userId="995eb0f2-f21c-467c-a947-4f8fc26d0f2e" providerId="ADAL" clId="{DE054CB8-BA24-472D-921B-3AF0C71E8B06}" dt="2021-09-30T19:11:30.478" v="1240" actId="478"/>
          <ac:picMkLst>
            <pc:docMk/>
            <pc:sldMk cId="71421364" sldId="340"/>
            <ac:picMk id="7" creationId="{DF0E0C8E-AB36-480D-98AD-390658FEFF4D}"/>
          </ac:picMkLst>
        </pc:picChg>
        <pc:picChg chg="add del mod modCrop">
          <ac:chgData name="Kory Thacher (APPS / POWERSHELL)" userId="995eb0f2-f21c-467c-a947-4f8fc26d0f2e" providerId="ADAL" clId="{DE054CB8-BA24-472D-921B-3AF0C71E8B06}" dt="2021-09-30T19:11:30.910" v="1241" actId="478"/>
          <ac:picMkLst>
            <pc:docMk/>
            <pc:sldMk cId="71421364" sldId="340"/>
            <ac:picMk id="9" creationId="{03A69F94-0B58-488F-8ECF-8CF768F58A92}"/>
          </ac:picMkLst>
        </pc:picChg>
        <pc:picChg chg="del">
          <ac:chgData name="Kory Thacher (APPS / POWERSHELL)" userId="995eb0f2-f21c-467c-a947-4f8fc26d0f2e" providerId="ADAL" clId="{DE054CB8-BA24-472D-921B-3AF0C71E8B06}" dt="2021-09-30T19:03:47.713" v="1178" actId="478"/>
          <ac:picMkLst>
            <pc:docMk/>
            <pc:sldMk cId="71421364" sldId="340"/>
            <ac:picMk id="3074" creationId="{25628A0E-243B-48E4-BF10-0BD79E8518C9}"/>
          </ac:picMkLst>
        </pc:picChg>
      </pc:sldChg>
      <pc:sldChg chg="add del">
        <pc:chgData name="Kory Thacher (APPS / POWERSHELL)" userId="995eb0f2-f21c-467c-a947-4f8fc26d0f2e" providerId="ADAL" clId="{DE054CB8-BA24-472D-921B-3AF0C71E8B06}" dt="2021-09-30T18:48:13.438" v="1047" actId="47"/>
        <pc:sldMkLst>
          <pc:docMk/>
          <pc:sldMk cId="866625457" sldId="340"/>
        </pc:sldMkLst>
      </pc:sldChg>
      <pc:sldChg chg="addSp delSp modSp add del mod ord modClrScheme delCm chgLayout">
        <pc:chgData name="Kory Thacher (APPS / POWERSHELL)" userId="995eb0f2-f21c-467c-a947-4f8fc26d0f2e" providerId="ADAL" clId="{DE054CB8-BA24-472D-921B-3AF0C71E8B06}" dt="2021-09-30T21:35:50.102" v="2238" actId="47"/>
        <pc:sldMkLst>
          <pc:docMk/>
          <pc:sldMk cId="3611195968" sldId="341"/>
        </pc:sldMkLst>
        <pc:spChg chg="mod">
          <ac:chgData name="Kory Thacher (APPS / POWERSHELL)" userId="995eb0f2-f21c-467c-a947-4f8fc26d0f2e" providerId="ADAL" clId="{DE054CB8-BA24-472D-921B-3AF0C71E8B06}" dt="2021-09-30T19:13:51.020" v="1269" actId="26606"/>
          <ac:spMkLst>
            <pc:docMk/>
            <pc:sldMk cId="3611195968" sldId="341"/>
            <ac:spMk id="2" creationId="{FE2A4383-CBFC-45C1-817F-CF167C87CC5B}"/>
          </ac:spMkLst>
        </pc:spChg>
        <pc:spChg chg="add mod">
          <ac:chgData name="Kory Thacher (APPS / POWERSHELL)" userId="995eb0f2-f21c-467c-a947-4f8fc26d0f2e" providerId="ADAL" clId="{DE054CB8-BA24-472D-921B-3AF0C71E8B06}" dt="2021-09-30T19:15:50.169" v="1304" actId="14100"/>
          <ac:spMkLst>
            <pc:docMk/>
            <pc:sldMk cId="3611195968" sldId="341"/>
            <ac:spMk id="19" creationId="{0F507E1E-0852-41A1-9F80-BE8DCF0653D9}"/>
          </ac:spMkLst>
        </pc:spChg>
        <pc:spChg chg="add mod">
          <ac:chgData name="Kory Thacher (APPS / POWERSHELL)" userId="995eb0f2-f21c-467c-a947-4f8fc26d0f2e" providerId="ADAL" clId="{DE054CB8-BA24-472D-921B-3AF0C71E8B06}" dt="2021-09-30T19:16:04.342" v="1319" actId="20577"/>
          <ac:spMkLst>
            <pc:docMk/>
            <pc:sldMk cId="3611195968" sldId="341"/>
            <ac:spMk id="21" creationId="{821D4E93-6A71-4DB4-876C-1036098B4C43}"/>
          </ac:spMkLst>
        </pc:spChg>
        <pc:spChg chg="add del mod">
          <ac:chgData name="Kory Thacher (APPS / POWERSHELL)" userId="995eb0f2-f21c-467c-a947-4f8fc26d0f2e" providerId="ADAL" clId="{DE054CB8-BA24-472D-921B-3AF0C71E8B06}" dt="2021-09-30T19:14:05.142" v="1273" actId="478"/>
          <ac:spMkLst>
            <pc:docMk/>
            <pc:sldMk cId="3611195968" sldId="341"/>
            <ac:spMk id="23" creationId="{C2505329-0C47-4CAE-A3EC-D0DE35725ECD}"/>
          </ac:spMkLst>
        </pc:spChg>
        <pc:picChg chg="add del mod modCrop">
          <ac:chgData name="Kory Thacher (APPS / POWERSHELL)" userId="995eb0f2-f21c-467c-a947-4f8fc26d0f2e" providerId="ADAL" clId="{DE054CB8-BA24-472D-921B-3AF0C71E8B06}" dt="2021-09-30T19:11:28.655" v="1238" actId="478"/>
          <ac:picMkLst>
            <pc:docMk/>
            <pc:sldMk cId="3611195968" sldId="341"/>
            <ac:picMk id="4" creationId="{99E2AE9D-1A7B-407F-A87B-0F2BBE7A25B0}"/>
          </ac:picMkLst>
        </pc:picChg>
        <pc:picChg chg="add del mod modCrop">
          <ac:chgData name="Kory Thacher (APPS / POWERSHELL)" userId="995eb0f2-f21c-467c-a947-4f8fc26d0f2e" providerId="ADAL" clId="{DE054CB8-BA24-472D-921B-3AF0C71E8B06}" dt="2021-09-30T19:11:29.273" v="1239" actId="478"/>
          <ac:picMkLst>
            <pc:docMk/>
            <pc:sldMk cId="3611195968" sldId="341"/>
            <ac:picMk id="6" creationId="{F96F43B5-28D7-4AFD-ABD0-5137E9DCBF73}"/>
          </ac:picMkLst>
        </pc:picChg>
        <pc:picChg chg="del">
          <ac:chgData name="Kory Thacher (APPS / POWERSHELL)" userId="995eb0f2-f21c-467c-a947-4f8fc26d0f2e" providerId="ADAL" clId="{DE054CB8-BA24-472D-921B-3AF0C71E8B06}" dt="2021-09-30T19:05:45.471" v="1203" actId="478"/>
          <ac:picMkLst>
            <pc:docMk/>
            <pc:sldMk cId="3611195968" sldId="341"/>
            <ac:picMk id="7" creationId="{DF0E0C8E-AB36-480D-98AD-390658FEFF4D}"/>
          </ac:picMkLst>
        </pc:picChg>
        <pc:picChg chg="del">
          <ac:chgData name="Kory Thacher (APPS / POWERSHELL)" userId="995eb0f2-f21c-467c-a947-4f8fc26d0f2e" providerId="ADAL" clId="{DE054CB8-BA24-472D-921B-3AF0C71E8B06}" dt="2021-09-30T19:06:12.294" v="1207" actId="478"/>
          <ac:picMkLst>
            <pc:docMk/>
            <pc:sldMk cId="3611195968" sldId="341"/>
            <ac:picMk id="9" creationId="{03A69F94-0B58-488F-8ECF-8CF768F58A92}"/>
          </ac:picMkLst>
        </pc:picChg>
        <pc:picChg chg="add del">
          <ac:chgData name="Kory Thacher (APPS / POWERSHELL)" userId="995eb0f2-f21c-467c-a947-4f8fc26d0f2e" providerId="ADAL" clId="{DE054CB8-BA24-472D-921B-3AF0C71E8B06}" dt="2021-09-30T19:12:46.287" v="1254" actId="478"/>
          <ac:picMkLst>
            <pc:docMk/>
            <pc:sldMk cId="3611195968" sldId="341"/>
            <ac:picMk id="10" creationId="{C114B492-3D01-4A2D-999E-A1987A021ED3}"/>
          </ac:picMkLst>
        </pc:picChg>
        <pc:picChg chg="add del">
          <ac:chgData name="Kory Thacher (APPS / POWERSHELL)" userId="995eb0f2-f21c-467c-a947-4f8fc26d0f2e" providerId="ADAL" clId="{DE054CB8-BA24-472D-921B-3AF0C71E8B06}" dt="2021-09-30T19:12:45.527" v="1253" actId="478"/>
          <ac:picMkLst>
            <pc:docMk/>
            <pc:sldMk cId="3611195968" sldId="341"/>
            <ac:picMk id="12" creationId="{D9B20683-69CE-4597-A8CC-9E9B94F90F7D}"/>
          </ac:picMkLst>
        </pc:picChg>
        <pc:picChg chg="add del">
          <ac:chgData name="Kory Thacher (APPS / POWERSHELL)" userId="995eb0f2-f21c-467c-a947-4f8fc26d0f2e" providerId="ADAL" clId="{DE054CB8-BA24-472D-921B-3AF0C71E8B06}" dt="2021-09-30T19:12:44.342" v="1252" actId="478"/>
          <ac:picMkLst>
            <pc:docMk/>
            <pc:sldMk cId="3611195968" sldId="341"/>
            <ac:picMk id="14" creationId="{9BFA16EE-C586-4A88-9F89-0FE105180656}"/>
          </ac:picMkLst>
        </pc:picChg>
        <pc:picChg chg="add del">
          <ac:chgData name="Kory Thacher (APPS / POWERSHELL)" userId="995eb0f2-f21c-467c-a947-4f8fc26d0f2e" providerId="ADAL" clId="{DE054CB8-BA24-472D-921B-3AF0C71E8B06}" dt="2021-09-30T19:12:42.310" v="1251" actId="478"/>
          <ac:picMkLst>
            <pc:docMk/>
            <pc:sldMk cId="3611195968" sldId="341"/>
            <ac:picMk id="16" creationId="{99F787B9-D38C-4A95-B782-65B2B8C5CCEE}"/>
          </ac:picMkLst>
        </pc:picChg>
        <pc:picChg chg="add mod">
          <ac:chgData name="Kory Thacher (APPS / POWERSHELL)" userId="995eb0f2-f21c-467c-a947-4f8fc26d0f2e" providerId="ADAL" clId="{DE054CB8-BA24-472D-921B-3AF0C71E8B06}" dt="2021-09-30T19:13:51.020" v="1269" actId="26606"/>
          <ac:picMkLst>
            <pc:docMk/>
            <pc:sldMk cId="3611195968" sldId="341"/>
            <ac:picMk id="18" creationId="{E8F3B1F1-1AA8-42BC-A6F7-60D0860621F9}"/>
          </ac:picMkLst>
        </pc:picChg>
      </pc:sldChg>
      <pc:sldChg chg="addSp delSp modSp add del mod modClrScheme chgLayout">
        <pc:chgData name="Kory Thacher (APPS / POWERSHELL)" userId="995eb0f2-f21c-467c-a947-4f8fc26d0f2e" providerId="ADAL" clId="{DE054CB8-BA24-472D-921B-3AF0C71E8B06}" dt="2021-09-30T21:35:50.102" v="2238" actId="47"/>
        <pc:sldMkLst>
          <pc:docMk/>
          <pc:sldMk cId="1183057909" sldId="342"/>
        </pc:sldMkLst>
        <pc:spChg chg="mod">
          <ac:chgData name="Kory Thacher (APPS / POWERSHELL)" userId="995eb0f2-f21c-467c-a947-4f8fc26d0f2e" providerId="ADAL" clId="{DE054CB8-BA24-472D-921B-3AF0C71E8B06}" dt="2021-09-30T19:13:55.739" v="1270" actId="26606"/>
          <ac:spMkLst>
            <pc:docMk/>
            <pc:sldMk cId="1183057909" sldId="342"/>
            <ac:spMk id="2" creationId="{FE2A4383-CBFC-45C1-817F-CF167C87CC5B}"/>
          </ac:spMkLst>
        </pc:spChg>
        <pc:spChg chg="add del mod">
          <ac:chgData name="Kory Thacher (APPS / POWERSHELL)" userId="995eb0f2-f21c-467c-a947-4f8fc26d0f2e" providerId="ADAL" clId="{DE054CB8-BA24-472D-921B-3AF0C71E8B06}" dt="2021-09-30T19:16:42.510" v="1324" actId="478"/>
          <ac:spMkLst>
            <pc:docMk/>
            <pc:sldMk cId="1183057909" sldId="342"/>
            <ac:spMk id="9" creationId="{2F5B5DB8-B15D-47BC-8C9C-587D036E80EA}"/>
          </ac:spMkLst>
        </pc:spChg>
        <pc:spChg chg="add del mod">
          <ac:chgData name="Kory Thacher (APPS / POWERSHELL)" userId="995eb0f2-f21c-467c-a947-4f8fc26d0f2e" providerId="ADAL" clId="{DE054CB8-BA24-472D-921B-3AF0C71E8B06}" dt="2021-09-30T19:15:36.950" v="1300" actId="478"/>
          <ac:spMkLst>
            <pc:docMk/>
            <pc:sldMk cId="1183057909" sldId="342"/>
            <ac:spMk id="11" creationId="{12946DAD-71BB-403E-A850-ECCD15607B2E}"/>
          </ac:spMkLst>
        </pc:spChg>
        <pc:spChg chg="add mod">
          <ac:chgData name="Kory Thacher (APPS / POWERSHELL)" userId="995eb0f2-f21c-467c-a947-4f8fc26d0f2e" providerId="ADAL" clId="{DE054CB8-BA24-472D-921B-3AF0C71E8B06}" dt="2021-09-30T19:16:15.323" v="1320"/>
          <ac:spMkLst>
            <pc:docMk/>
            <pc:sldMk cId="1183057909" sldId="342"/>
            <ac:spMk id="13" creationId="{FCB95B34-FAF3-4076-890D-1AA9710FB48B}"/>
          </ac:spMkLst>
        </pc:spChg>
        <pc:spChg chg="add mod">
          <ac:chgData name="Kory Thacher (APPS / POWERSHELL)" userId="995eb0f2-f21c-467c-a947-4f8fc26d0f2e" providerId="ADAL" clId="{DE054CB8-BA24-472D-921B-3AF0C71E8B06}" dt="2021-09-30T19:16:15.323" v="1320"/>
          <ac:spMkLst>
            <pc:docMk/>
            <pc:sldMk cId="1183057909" sldId="342"/>
            <ac:spMk id="15" creationId="{7081C664-B70F-4839-BD6F-CFC1F69899CD}"/>
          </ac:spMkLst>
        </pc:spChg>
        <pc:picChg chg="add mod modCrop">
          <ac:chgData name="Kory Thacher (APPS / POWERSHELL)" userId="995eb0f2-f21c-467c-a947-4f8fc26d0f2e" providerId="ADAL" clId="{DE054CB8-BA24-472D-921B-3AF0C71E8B06}" dt="2021-09-30T19:17:09.539" v="1327" actId="732"/>
          <ac:picMkLst>
            <pc:docMk/>
            <pc:sldMk cId="1183057909" sldId="342"/>
            <ac:picMk id="4" creationId="{FB5487C5-304A-41C0-B2BB-989D6FEA3314}"/>
          </ac:picMkLst>
        </pc:picChg>
        <pc:picChg chg="del">
          <ac:chgData name="Kory Thacher (APPS / POWERSHELL)" userId="995eb0f2-f21c-467c-a947-4f8fc26d0f2e" providerId="ADAL" clId="{DE054CB8-BA24-472D-921B-3AF0C71E8B06}" dt="2021-09-30T19:12:53.470" v="1258" actId="478"/>
          <ac:picMkLst>
            <pc:docMk/>
            <pc:sldMk cId="1183057909" sldId="342"/>
            <ac:picMk id="10" creationId="{C114B492-3D01-4A2D-999E-A1987A021ED3}"/>
          </ac:picMkLst>
        </pc:picChg>
        <pc:picChg chg="del">
          <ac:chgData name="Kory Thacher (APPS / POWERSHELL)" userId="995eb0f2-f21c-467c-a947-4f8fc26d0f2e" providerId="ADAL" clId="{DE054CB8-BA24-472D-921B-3AF0C71E8B06}" dt="2021-09-30T19:12:52.815" v="1257" actId="478"/>
          <ac:picMkLst>
            <pc:docMk/>
            <pc:sldMk cId="1183057909" sldId="342"/>
            <ac:picMk id="12" creationId="{D9B20683-69CE-4597-A8CC-9E9B94F90F7D}"/>
          </ac:picMkLst>
        </pc:picChg>
        <pc:picChg chg="del">
          <ac:chgData name="Kory Thacher (APPS / POWERSHELL)" userId="995eb0f2-f21c-467c-a947-4f8fc26d0f2e" providerId="ADAL" clId="{DE054CB8-BA24-472D-921B-3AF0C71E8B06}" dt="2021-09-30T19:12:52.078" v="1256" actId="478"/>
          <ac:picMkLst>
            <pc:docMk/>
            <pc:sldMk cId="1183057909" sldId="342"/>
            <ac:picMk id="14" creationId="{9BFA16EE-C586-4A88-9F89-0FE105180656}"/>
          </ac:picMkLst>
        </pc:picChg>
        <pc:picChg chg="del">
          <ac:chgData name="Kory Thacher (APPS / POWERSHELL)" userId="995eb0f2-f21c-467c-a947-4f8fc26d0f2e" providerId="ADAL" clId="{DE054CB8-BA24-472D-921B-3AF0C71E8B06}" dt="2021-09-30T19:12:31.614" v="1250" actId="478"/>
          <ac:picMkLst>
            <pc:docMk/>
            <pc:sldMk cId="1183057909" sldId="342"/>
            <ac:picMk id="16" creationId="{99F787B9-D38C-4A95-B782-65B2B8C5CCEE}"/>
          </ac:picMkLst>
        </pc:picChg>
        <pc:picChg chg="add del mod">
          <ac:chgData name="Kory Thacher (APPS / POWERSHELL)" userId="995eb0f2-f21c-467c-a947-4f8fc26d0f2e" providerId="ADAL" clId="{DE054CB8-BA24-472D-921B-3AF0C71E8B06}" dt="2021-09-30T19:17:15.133" v="1328" actId="478"/>
          <ac:picMkLst>
            <pc:docMk/>
            <pc:sldMk cId="1183057909" sldId="342"/>
            <ac:picMk id="17" creationId="{ABEAE7E9-640F-442A-87A2-FD93A47DF656}"/>
          </ac:picMkLst>
        </pc:picChg>
      </pc:sldChg>
      <pc:sldChg chg="addSp delSp modSp add del mod modClrScheme chgLayout">
        <pc:chgData name="Kory Thacher (APPS / POWERSHELL)" userId="995eb0f2-f21c-467c-a947-4f8fc26d0f2e" providerId="ADAL" clId="{DE054CB8-BA24-472D-921B-3AF0C71E8B06}" dt="2021-09-30T21:35:50.102" v="2238" actId="47"/>
        <pc:sldMkLst>
          <pc:docMk/>
          <pc:sldMk cId="3483053939" sldId="343"/>
        </pc:sldMkLst>
        <pc:spChg chg="mod">
          <ac:chgData name="Kory Thacher (APPS / POWERSHELL)" userId="995eb0f2-f21c-467c-a947-4f8fc26d0f2e" providerId="ADAL" clId="{DE054CB8-BA24-472D-921B-3AF0C71E8B06}" dt="2021-09-30T19:13:59.308" v="1271" actId="26606"/>
          <ac:spMkLst>
            <pc:docMk/>
            <pc:sldMk cId="3483053939" sldId="343"/>
            <ac:spMk id="2" creationId="{FE2A4383-CBFC-45C1-817F-CF167C87CC5B}"/>
          </ac:spMkLst>
        </pc:spChg>
        <pc:spChg chg="add del mod">
          <ac:chgData name="Kory Thacher (APPS / POWERSHELL)" userId="995eb0f2-f21c-467c-a947-4f8fc26d0f2e" providerId="ADAL" clId="{DE054CB8-BA24-472D-921B-3AF0C71E8B06}" dt="2021-09-30T19:15:31.678" v="1299" actId="478"/>
          <ac:spMkLst>
            <pc:docMk/>
            <pc:sldMk cId="3483053939" sldId="343"/>
            <ac:spMk id="9" creationId="{652A8907-0316-49BE-9A08-CA600FC69EFD}"/>
          </ac:spMkLst>
        </pc:spChg>
        <pc:spChg chg="add del mod">
          <ac:chgData name="Kory Thacher (APPS / POWERSHELL)" userId="995eb0f2-f21c-467c-a947-4f8fc26d0f2e" providerId="ADAL" clId="{DE054CB8-BA24-472D-921B-3AF0C71E8B06}" dt="2021-09-30T19:15:41.366" v="1301" actId="478"/>
          <ac:spMkLst>
            <pc:docMk/>
            <pc:sldMk cId="3483053939" sldId="343"/>
            <ac:spMk id="11" creationId="{6236B4C2-67E9-4A11-9FAA-04983B7227E4}"/>
          </ac:spMkLst>
        </pc:spChg>
        <pc:spChg chg="add mod">
          <ac:chgData name="Kory Thacher (APPS / POWERSHELL)" userId="995eb0f2-f21c-467c-a947-4f8fc26d0f2e" providerId="ADAL" clId="{DE054CB8-BA24-472D-921B-3AF0C71E8B06}" dt="2021-09-30T19:16:18.451" v="1321"/>
          <ac:spMkLst>
            <pc:docMk/>
            <pc:sldMk cId="3483053939" sldId="343"/>
            <ac:spMk id="13" creationId="{7571319D-EB28-479F-BF7B-1A5D55876F1D}"/>
          </ac:spMkLst>
        </pc:spChg>
        <pc:spChg chg="add mod">
          <ac:chgData name="Kory Thacher (APPS / POWERSHELL)" userId="995eb0f2-f21c-467c-a947-4f8fc26d0f2e" providerId="ADAL" clId="{DE054CB8-BA24-472D-921B-3AF0C71E8B06}" dt="2021-09-30T19:16:26.876" v="1322" actId="14100"/>
          <ac:spMkLst>
            <pc:docMk/>
            <pc:sldMk cId="3483053939" sldId="343"/>
            <ac:spMk id="15" creationId="{C337BB25-49F9-4A15-97D9-E15B15ECAE90}"/>
          </ac:spMkLst>
        </pc:spChg>
        <pc:picChg chg="add mod">
          <ac:chgData name="Kory Thacher (APPS / POWERSHELL)" userId="995eb0f2-f21c-467c-a947-4f8fc26d0f2e" providerId="ADAL" clId="{DE054CB8-BA24-472D-921B-3AF0C71E8B06}" dt="2021-09-30T19:13:59.308" v="1271" actId="26606"/>
          <ac:picMkLst>
            <pc:docMk/>
            <pc:sldMk cId="3483053939" sldId="343"/>
            <ac:picMk id="4" creationId="{A4B08FE7-47AB-4E02-8D35-C19D9C1A0481}"/>
          </ac:picMkLst>
        </pc:picChg>
        <pc:picChg chg="del">
          <ac:chgData name="Kory Thacher (APPS / POWERSHELL)" userId="995eb0f2-f21c-467c-a947-4f8fc26d0f2e" providerId="ADAL" clId="{DE054CB8-BA24-472D-921B-3AF0C71E8B06}" dt="2021-09-30T19:13:06.175" v="1263" actId="478"/>
          <ac:picMkLst>
            <pc:docMk/>
            <pc:sldMk cId="3483053939" sldId="343"/>
            <ac:picMk id="10" creationId="{C114B492-3D01-4A2D-999E-A1987A021ED3}"/>
          </ac:picMkLst>
        </pc:picChg>
        <pc:picChg chg="del">
          <ac:chgData name="Kory Thacher (APPS / POWERSHELL)" userId="995eb0f2-f21c-467c-a947-4f8fc26d0f2e" providerId="ADAL" clId="{DE054CB8-BA24-472D-921B-3AF0C71E8B06}" dt="2021-09-30T19:13:05.590" v="1262" actId="478"/>
          <ac:picMkLst>
            <pc:docMk/>
            <pc:sldMk cId="3483053939" sldId="343"/>
            <ac:picMk id="12" creationId="{D9B20683-69CE-4597-A8CC-9E9B94F90F7D}"/>
          </ac:picMkLst>
        </pc:picChg>
        <pc:picChg chg="del">
          <ac:chgData name="Kory Thacher (APPS / POWERSHELL)" userId="995eb0f2-f21c-467c-a947-4f8fc26d0f2e" providerId="ADAL" clId="{DE054CB8-BA24-472D-921B-3AF0C71E8B06}" dt="2021-09-30T19:13:04.934" v="1261" actId="478"/>
          <ac:picMkLst>
            <pc:docMk/>
            <pc:sldMk cId="3483053939" sldId="343"/>
            <ac:picMk id="14" creationId="{9BFA16EE-C586-4A88-9F89-0FE105180656}"/>
          </ac:picMkLst>
        </pc:picChg>
        <pc:picChg chg="del">
          <ac:chgData name="Kory Thacher (APPS / POWERSHELL)" userId="995eb0f2-f21c-467c-a947-4f8fc26d0f2e" providerId="ADAL" clId="{DE054CB8-BA24-472D-921B-3AF0C71E8B06}" dt="2021-09-30T19:13:02.959" v="1260" actId="478"/>
          <ac:picMkLst>
            <pc:docMk/>
            <pc:sldMk cId="3483053939" sldId="343"/>
            <ac:picMk id="16" creationId="{99F787B9-D38C-4A95-B782-65B2B8C5CCEE}"/>
          </ac:picMkLst>
        </pc:picChg>
      </pc:sldChg>
      <pc:sldChg chg="addSp delSp modSp add del mod modClrScheme chgLayout">
        <pc:chgData name="Kory Thacher (APPS / POWERSHELL)" userId="995eb0f2-f21c-467c-a947-4f8fc26d0f2e" providerId="ADAL" clId="{DE054CB8-BA24-472D-921B-3AF0C71E8B06}" dt="2021-09-30T21:35:50.102" v="2238" actId="47"/>
        <pc:sldMkLst>
          <pc:docMk/>
          <pc:sldMk cId="2615985221" sldId="344"/>
        </pc:sldMkLst>
        <pc:spChg chg="mod">
          <ac:chgData name="Kory Thacher (APPS / POWERSHELL)" userId="995eb0f2-f21c-467c-a947-4f8fc26d0f2e" providerId="ADAL" clId="{DE054CB8-BA24-472D-921B-3AF0C71E8B06}" dt="2021-09-30T19:14:02.212" v="1272" actId="26606"/>
          <ac:spMkLst>
            <pc:docMk/>
            <pc:sldMk cId="2615985221" sldId="344"/>
            <ac:spMk id="2" creationId="{FE2A4383-CBFC-45C1-817F-CF167C87CC5B}"/>
          </ac:spMkLst>
        </pc:spChg>
        <pc:spChg chg="add del mod">
          <ac:chgData name="Kory Thacher (APPS / POWERSHELL)" userId="995eb0f2-f21c-467c-a947-4f8fc26d0f2e" providerId="ADAL" clId="{DE054CB8-BA24-472D-921B-3AF0C71E8B06}" dt="2021-09-30T19:15:43.318" v="1302" actId="478"/>
          <ac:spMkLst>
            <pc:docMk/>
            <pc:sldMk cId="2615985221" sldId="344"/>
            <ac:spMk id="7" creationId="{0B64101D-4C47-4B06-A52E-5DC31D063784}"/>
          </ac:spMkLst>
        </pc:spChg>
        <pc:spChg chg="add mod">
          <ac:chgData name="Kory Thacher (APPS / POWERSHELL)" userId="995eb0f2-f21c-467c-a947-4f8fc26d0f2e" providerId="ADAL" clId="{DE054CB8-BA24-472D-921B-3AF0C71E8B06}" dt="2021-09-30T19:16:34.348" v="1323"/>
          <ac:spMkLst>
            <pc:docMk/>
            <pc:sldMk cId="2615985221" sldId="344"/>
            <ac:spMk id="8" creationId="{9A581DEA-BA1E-4255-BACD-D4685E042327}"/>
          </ac:spMkLst>
        </pc:spChg>
        <pc:spChg chg="add mod">
          <ac:chgData name="Kory Thacher (APPS / POWERSHELL)" userId="995eb0f2-f21c-467c-a947-4f8fc26d0f2e" providerId="ADAL" clId="{DE054CB8-BA24-472D-921B-3AF0C71E8B06}" dt="2021-09-30T19:16:34.348" v="1323"/>
          <ac:spMkLst>
            <pc:docMk/>
            <pc:sldMk cId="2615985221" sldId="344"/>
            <ac:spMk id="9" creationId="{7FC2D10A-7DAE-45ED-99C3-138573EBAFE5}"/>
          </ac:spMkLst>
        </pc:spChg>
        <pc:spChg chg="add del mod">
          <ac:chgData name="Kory Thacher (APPS / POWERSHELL)" userId="995eb0f2-f21c-467c-a947-4f8fc26d0f2e" providerId="ADAL" clId="{DE054CB8-BA24-472D-921B-3AF0C71E8B06}" dt="2021-09-30T19:15:29.015" v="1298" actId="478"/>
          <ac:spMkLst>
            <pc:docMk/>
            <pc:sldMk cId="2615985221" sldId="344"/>
            <ac:spMk id="10" creationId="{899D7DE1-77B2-492D-99DE-5A6B841C5E86}"/>
          </ac:spMkLst>
        </pc:spChg>
        <pc:picChg chg="del">
          <ac:chgData name="Kory Thacher (APPS / POWERSHELL)" userId="995eb0f2-f21c-467c-a947-4f8fc26d0f2e" providerId="ADAL" clId="{DE054CB8-BA24-472D-921B-3AF0C71E8B06}" dt="2021-09-30T19:13:21.070" v="1267" actId="478"/>
          <ac:picMkLst>
            <pc:docMk/>
            <pc:sldMk cId="2615985221" sldId="344"/>
            <ac:picMk id="4" creationId="{A4B08FE7-47AB-4E02-8D35-C19D9C1A0481}"/>
          </ac:picMkLst>
        </pc:picChg>
        <pc:picChg chg="add mod">
          <ac:chgData name="Kory Thacher (APPS / POWERSHELL)" userId="995eb0f2-f21c-467c-a947-4f8fc26d0f2e" providerId="ADAL" clId="{DE054CB8-BA24-472D-921B-3AF0C71E8B06}" dt="2021-09-30T19:14:02.212" v="1272" actId="26606"/>
          <ac:picMkLst>
            <pc:docMk/>
            <pc:sldMk cId="2615985221" sldId="344"/>
            <ac:picMk id="5" creationId="{883B7D46-0C6D-4252-9363-A1B066BDCD00}"/>
          </ac:picMkLst>
        </pc:picChg>
      </pc:sldChg>
      <pc:sldChg chg="add del">
        <pc:chgData name="Kory Thacher (APPS / POWERSHELL)" userId="995eb0f2-f21c-467c-a947-4f8fc26d0f2e" providerId="ADAL" clId="{DE054CB8-BA24-472D-921B-3AF0C71E8B06}" dt="2021-09-30T19:13:14.047" v="1265" actId="47"/>
        <pc:sldMkLst>
          <pc:docMk/>
          <pc:sldMk cId="3701948943" sldId="344"/>
        </pc:sldMkLst>
      </pc:sldChg>
      <pc:sldChg chg="delSp add del mod">
        <pc:chgData name="Kory Thacher (APPS / POWERSHELL)" userId="995eb0f2-f21c-467c-a947-4f8fc26d0f2e" providerId="ADAL" clId="{DE054CB8-BA24-472D-921B-3AF0C71E8B06}" dt="2021-09-30T19:21:48.593" v="1334" actId="47"/>
        <pc:sldMkLst>
          <pc:docMk/>
          <pc:sldMk cId="2809328681" sldId="345"/>
        </pc:sldMkLst>
        <pc:spChg chg="del">
          <ac:chgData name="Kory Thacher (APPS / POWERSHELL)" userId="995eb0f2-f21c-467c-a947-4f8fc26d0f2e" providerId="ADAL" clId="{DE054CB8-BA24-472D-921B-3AF0C71E8B06}" dt="2021-09-30T19:21:36.214" v="1332" actId="478"/>
          <ac:spMkLst>
            <pc:docMk/>
            <pc:sldMk cId="2809328681" sldId="345"/>
            <ac:spMk id="8" creationId="{9A581DEA-BA1E-4255-BACD-D4685E042327}"/>
          </ac:spMkLst>
        </pc:spChg>
        <pc:spChg chg="del">
          <ac:chgData name="Kory Thacher (APPS / POWERSHELL)" userId="995eb0f2-f21c-467c-a947-4f8fc26d0f2e" providerId="ADAL" clId="{DE054CB8-BA24-472D-921B-3AF0C71E8B06}" dt="2021-09-30T19:21:35.293" v="1331" actId="478"/>
          <ac:spMkLst>
            <pc:docMk/>
            <pc:sldMk cId="2809328681" sldId="345"/>
            <ac:spMk id="9" creationId="{7FC2D10A-7DAE-45ED-99C3-138573EBAFE5}"/>
          </ac:spMkLst>
        </pc:spChg>
        <pc:picChg chg="del">
          <ac:chgData name="Kory Thacher (APPS / POWERSHELL)" userId="995eb0f2-f21c-467c-a947-4f8fc26d0f2e" providerId="ADAL" clId="{DE054CB8-BA24-472D-921B-3AF0C71E8B06}" dt="2021-09-30T19:21:33.822" v="1330" actId="478"/>
          <ac:picMkLst>
            <pc:docMk/>
            <pc:sldMk cId="2809328681" sldId="345"/>
            <ac:picMk id="5" creationId="{883B7D46-0C6D-4252-9363-A1B066BDCD00}"/>
          </ac:picMkLst>
        </pc:picChg>
      </pc:sldChg>
      <pc:sldChg chg="addSp delSp modSp add mod">
        <pc:chgData name="Kory Thacher (APPS / POWERSHELL)" userId="995eb0f2-f21c-467c-a947-4f8fc26d0f2e" providerId="ADAL" clId="{DE054CB8-BA24-472D-921B-3AF0C71E8B06}" dt="2021-09-30T21:35:14.880" v="2237" actId="20577"/>
        <pc:sldMkLst>
          <pc:docMk/>
          <pc:sldMk cId="3462858167" sldId="346"/>
        </pc:sldMkLst>
        <pc:spChg chg="mod">
          <ac:chgData name="Kory Thacher (APPS / POWERSHELL)" userId="995eb0f2-f21c-467c-a947-4f8fc26d0f2e" providerId="ADAL" clId="{DE054CB8-BA24-472D-921B-3AF0C71E8B06}" dt="2021-09-30T19:25:23.557" v="1523" actId="1036"/>
          <ac:spMkLst>
            <pc:docMk/>
            <pc:sldMk cId="3462858167" sldId="346"/>
            <ac:spMk id="8" creationId="{9A581DEA-BA1E-4255-BACD-D4685E042327}"/>
          </ac:spMkLst>
        </pc:spChg>
        <pc:spChg chg="mod">
          <ac:chgData name="Kory Thacher (APPS / POWERSHELL)" userId="995eb0f2-f21c-467c-a947-4f8fc26d0f2e" providerId="ADAL" clId="{DE054CB8-BA24-472D-921B-3AF0C71E8B06}" dt="2021-09-30T19:25:23.557" v="1523" actId="1036"/>
          <ac:spMkLst>
            <pc:docMk/>
            <pc:sldMk cId="3462858167" sldId="346"/>
            <ac:spMk id="9" creationId="{7FC2D10A-7DAE-45ED-99C3-138573EBAFE5}"/>
          </ac:spMkLst>
        </pc:spChg>
        <pc:spChg chg="add del mod">
          <ac:chgData name="Kory Thacher (APPS / POWERSHELL)" userId="995eb0f2-f21c-467c-a947-4f8fc26d0f2e" providerId="ADAL" clId="{DE054CB8-BA24-472D-921B-3AF0C71E8B06}" dt="2021-09-30T19:24:10.869" v="1463" actId="12084"/>
          <ac:spMkLst>
            <pc:docMk/>
            <pc:sldMk cId="3462858167" sldId="346"/>
            <ac:spMk id="10" creationId="{CBC129A1-302D-4142-ACCB-EA1059403351}"/>
          </ac:spMkLst>
        </pc:spChg>
        <pc:graphicFrameChg chg="add mod modGraphic">
          <ac:chgData name="Kory Thacher (APPS / POWERSHELL)" userId="995eb0f2-f21c-467c-a947-4f8fc26d0f2e" providerId="ADAL" clId="{DE054CB8-BA24-472D-921B-3AF0C71E8B06}" dt="2021-09-30T21:35:14.880" v="2237" actId="20577"/>
          <ac:graphicFrameMkLst>
            <pc:docMk/>
            <pc:sldMk cId="3462858167" sldId="346"/>
            <ac:graphicFrameMk id="6" creationId="{A74CC2A5-D57B-4225-A36E-2C21EBF7B738}"/>
          </ac:graphicFrameMkLst>
        </pc:graphicFrameChg>
        <pc:picChg chg="add mod ord modCrop">
          <ac:chgData name="Kory Thacher (APPS / POWERSHELL)" userId="995eb0f2-f21c-467c-a947-4f8fc26d0f2e" providerId="ADAL" clId="{DE054CB8-BA24-472D-921B-3AF0C71E8B06}" dt="2021-09-30T19:25:23.557" v="1523" actId="1036"/>
          <ac:picMkLst>
            <pc:docMk/>
            <pc:sldMk cId="3462858167" sldId="346"/>
            <ac:picMk id="4" creationId="{975C0EEC-63EB-4138-AEEE-1DB7F9942F67}"/>
          </ac:picMkLst>
        </pc:picChg>
        <pc:picChg chg="del">
          <ac:chgData name="Kory Thacher (APPS / POWERSHELL)" userId="995eb0f2-f21c-467c-a947-4f8fc26d0f2e" providerId="ADAL" clId="{DE054CB8-BA24-472D-921B-3AF0C71E8B06}" dt="2021-09-30T19:21:50.301" v="1335" actId="478"/>
          <ac:picMkLst>
            <pc:docMk/>
            <pc:sldMk cId="3462858167" sldId="346"/>
            <ac:picMk id="5" creationId="{883B7D46-0C6D-4252-9363-A1B066BDCD00}"/>
          </ac:picMkLst>
        </pc:picChg>
      </pc:sldChg>
      <pc:sldChg chg="add del ord">
        <pc:chgData name="Kory Thacher (APPS / POWERSHELL)" userId="995eb0f2-f21c-467c-a947-4f8fc26d0f2e" providerId="ADAL" clId="{DE054CB8-BA24-472D-921B-3AF0C71E8B06}" dt="2021-09-30T21:44:32.756" v="2259" actId="47"/>
        <pc:sldMkLst>
          <pc:docMk/>
          <pc:sldMk cId="4238731139" sldId="347"/>
        </pc:sldMkLst>
      </pc:sldChg>
      <pc:sldChg chg="addSp delSp modSp add mod modShow modNotesTx">
        <pc:chgData name="Kory Thacher (APPS / POWERSHELL)" userId="995eb0f2-f21c-467c-a947-4f8fc26d0f2e" providerId="ADAL" clId="{DE054CB8-BA24-472D-921B-3AF0C71E8B06}" dt="2021-09-30T22:45:21.177" v="3893" actId="20577"/>
        <pc:sldMkLst>
          <pc:docMk/>
          <pc:sldMk cId="2850187153" sldId="348"/>
        </pc:sldMkLst>
        <pc:spChg chg="mod">
          <ac:chgData name="Kory Thacher (APPS / POWERSHELL)" userId="995eb0f2-f21c-467c-a947-4f8fc26d0f2e" providerId="ADAL" clId="{DE054CB8-BA24-472D-921B-3AF0C71E8B06}" dt="2021-09-30T22:45:21.177" v="3893" actId="20577"/>
          <ac:spMkLst>
            <pc:docMk/>
            <pc:sldMk cId="2850187153" sldId="348"/>
            <ac:spMk id="3" creationId="{F926E264-1ABC-4BAC-A8F2-693ECC87F329}"/>
          </ac:spMkLst>
        </pc:spChg>
        <pc:spChg chg="add del mod">
          <ac:chgData name="Kory Thacher (APPS / POWERSHELL)" userId="995eb0f2-f21c-467c-a947-4f8fc26d0f2e" providerId="ADAL" clId="{DE054CB8-BA24-472D-921B-3AF0C71E8B06}" dt="2021-09-30T19:36:56.662" v="1811"/>
          <ac:spMkLst>
            <pc:docMk/>
            <pc:sldMk cId="2850187153" sldId="348"/>
            <ac:spMk id="10" creationId="{9E8F5B25-F734-4300-966B-B43EF6E0B0F0}"/>
          </ac:spMkLst>
        </pc:spChg>
        <pc:spChg chg="add mod">
          <ac:chgData name="Kory Thacher (APPS / POWERSHELL)" userId="995eb0f2-f21c-467c-a947-4f8fc26d0f2e" providerId="ADAL" clId="{DE054CB8-BA24-472D-921B-3AF0C71E8B06}" dt="2021-09-30T19:38:27.356" v="1867" actId="1035"/>
          <ac:spMkLst>
            <pc:docMk/>
            <pc:sldMk cId="2850187153" sldId="348"/>
            <ac:spMk id="11" creationId="{1D846B92-1FFA-45B5-B1C4-D96F1B0C7FC7}"/>
          </ac:spMkLst>
        </pc:spChg>
        <pc:spChg chg="mod">
          <ac:chgData name="Kory Thacher (APPS / POWERSHELL)" userId="995eb0f2-f21c-467c-a947-4f8fc26d0f2e" providerId="ADAL" clId="{DE054CB8-BA24-472D-921B-3AF0C71E8B06}" dt="2021-09-30T19:38:27.356" v="1867" actId="1035"/>
          <ac:spMkLst>
            <pc:docMk/>
            <pc:sldMk cId="2850187153" sldId="348"/>
            <ac:spMk id="13" creationId="{A6B245DE-899A-400A-BC70-330B65502B93}"/>
          </ac:spMkLst>
        </pc:spChg>
        <pc:spChg chg="mod">
          <ac:chgData name="Kory Thacher (APPS / POWERSHELL)" userId="995eb0f2-f21c-467c-a947-4f8fc26d0f2e" providerId="ADAL" clId="{DE054CB8-BA24-472D-921B-3AF0C71E8B06}" dt="2021-09-30T19:38:27.356" v="1867" actId="1035"/>
          <ac:spMkLst>
            <pc:docMk/>
            <pc:sldMk cId="2850187153" sldId="348"/>
            <ac:spMk id="14" creationId="{54FFE20A-90EC-432F-A913-80AD57E16890}"/>
          </ac:spMkLst>
        </pc:spChg>
        <pc:spChg chg="mod">
          <ac:chgData name="Kory Thacher (APPS / POWERSHELL)" userId="995eb0f2-f21c-467c-a947-4f8fc26d0f2e" providerId="ADAL" clId="{DE054CB8-BA24-472D-921B-3AF0C71E8B06}" dt="2021-09-30T19:38:27.356" v="1867" actId="1035"/>
          <ac:spMkLst>
            <pc:docMk/>
            <pc:sldMk cId="2850187153" sldId="348"/>
            <ac:spMk id="15" creationId="{362998D0-6046-4EF6-9958-DB86220E18DE}"/>
          </ac:spMkLst>
        </pc:spChg>
        <pc:picChg chg="add mod ord">
          <ac:chgData name="Kory Thacher (APPS / POWERSHELL)" userId="995eb0f2-f21c-467c-a947-4f8fc26d0f2e" providerId="ADAL" clId="{DE054CB8-BA24-472D-921B-3AF0C71E8B06}" dt="2021-09-30T19:38:27.356" v="1867" actId="1035"/>
          <ac:picMkLst>
            <pc:docMk/>
            <pc:sldMk cId="2850187153" sldId="348"/>
            <ac:picMk id="4" creationId="{C4DD3B83-0898-4DDD-915A-527DC9B03F9D}"/>
          </ac:picMkLst>
        </pc:picChg>
        <pc:picChg chg="add mod modCrop">
          <ac:chgData name="Kory Thacher (APPS / POWERSHELL)" userId="995eb0f2-f21c-467c-a947-4f8fc26d0f2e" providerId="ADAL" clId="{DE054CB8-BA24-472D-921B-3AF0C71E8B06}" dt="2021-09-30T19:38:27.356" v="1867" actId="1035"/>
          <ac:picMkLst>
            <pc:docMk/>
            <pc:sldMk cId="2850187153" sldId="348"/>
            <ac:picMk id="9" creationId="{AB772056-457F-4472-8414-F5FDEC19BF86}"/>
          </ac:picMkLst>
        </pc:picChg>
        <pc:picChg chg="del">
          <ac:chgData name="Kory Thacher (APPS / POWERSHELL)" userId="995eb0f2-f21c-467c-a947-4f8fc26d0f2e" providerId="ADAL" clId="{DE054CB8-BA24-472D-921B-3AF0C71E8B06}" dt="2021-09-30T19:33:30.028" v="1720" actId="478"/>
          <ac:picMkLst>
            <pc:docMk/>
            <pc:sldMk cId="2850187153" sldId="348"/>
            <ac:picMk id="12" creationId="{4B06F802-C5E6-4F16-AADE-797B8DB70083}"/>
          </ac:picMkLst>
        </pc:picChg>
      </pc:sldChg>
      <pc:sldChg chg="addSp delSp modSp add mod ord modShow modNotesTx">
        <pc:chgData name="Kory Thacher (APPS / POWERSHELL)" userId="995eb0f2-f21c-467c-a947-4f8fc26d0f2e" providerId="ADAL" clId="{DE054CB8-BA24-472D-921B-3AF0C71E8B06}" dt="2021-09-30T22:35:57.356" v="3577" actId="729"/>
        <pc:sldMkLst>
          <pc:docMk/>
          <pc:sldMk cId="176053803" sldId="349"/>
        </pc:sldMkLst>
        <pc:spChg chg="mod">
          <ac:chgData name="Kory Thacher (APPS / POWERSHELL)" userId="995eb0f2-f21c-467c-a947-4f8fc26d0f2e" providerId="ADAL" clId="{DE054CB8-BA24-472D-921B-3AF0C71E8B06}" dt="2021-09-30T22:23:49.555" v="2870" actId="20577"/>
          <ac:spMkLst>
            <pc:docMk/>
            <pc:sldMk cId="176053803" sldId="349"/>
            <ac:spMk id="2" creationId="{2928AAAB-CE90-41DE-A843-754AE57E0335}"/>
          </ac:spMkLst>
        </pc:spChg>
        <pc:spChg chg="add del mod">
          <ac:chgData name="Kory Thacher (APPS / POWERSHELL)" userId="995eb0f2-f21c-467c-a947-4f8fc26d0f2e" providerId="ADAL" clId="{DE054CB8-BA24-472D-921B-3AF0C71E8B06}" dt="2021-09-30T19:44:28.812" v="1912" actId="478"/>
          <ac:spMkLst>
            <pc:docMk/>
            <pc:sldMk cId="176053803" sldId="349"/>
            <ac:spMk id="4" creationId="{E629A380-CAEE-4930-A915-449A3E8D5CCE}"/>
          </ac:spMkLst>
        </pc:spChg>
        <pc:spChg chg="del mod">
          <ac:chgData name="Kory Thacher (APPS / POWERSHELL)" userId="995eb0f2-f21c-467c-a947-4f8fc26d0f2e" providerId="ADAL" clId="{DE054CB8-BA24-472D-921B-3AF0C71E8B06}" dt="2021-09-30T19:44:26.445" v="1911" actId="478"/>
          <ac:spMkLst>
            <pc:docMk/>
            <pc:sldMk cId="176053803" sldId="349"/>
            <ac:spMk id="7" creationId="{3FB683F8-222C-4F20-9995-11E948D844EB}"/>
          </ac:spMkLst>
        </pc:spChg>
        <pc:spChg chg="add mod">
          <ac:chgData name="Kory Thacher (APPS / POWERSHELL)" userId="995eb0f2-f21c-467c-a947-4f8fc26d0f2e" providerId="ADAL" clId="{DE054CB8-BA24-472D-921B-3AF0C71E8B06}" dt="2021-09-30T19:50:01.925" v="2021" actId="13822"/>
          <ac:spMkLst>
            <pc:docMk/>
            <pc:sldMk cId="176053803" sldId="349"/>
            <ac:spMk id="8" creationId="{20E79CE1-9844-4144-936D-54638F032318}"/>
          </ac:spMkLst>
        </pc:spChg>
        <pc:graphicFrameChg chg="mod modGraphic">
          <ac:chgData name="Kory Thacher (APPS / POWERSHELL)" userId="995eb0f2-f21c-467c-a947-4f8fc26d0f2e" providerId="ADAL" clId="{DE054CB8-BA24-472D-921B-3AF0C71E8B06}" dt="2021-09-30T22:26:54.739" v="2876" actId="20577"/>
          <ac:graphicFrameMkLst>
            <pc:docMk/>
            <pc:sldMk cId="176053803" sldId="349"/>
            <ac:graphicFrameMk id="6" creationId="{496D982C-A5DC-4793-A13F-B1A9171AAD29}"/>
          </ac:graphicFrameMkLst>
        </pc:graphicFrameChg>
      </pc:sldChg>
      <pc:sldChg chg="modSp add mod">
        <pc:chgData name="Kory Thacher (APPS / POWERSHELL)" userId="995eb0f2-f21c-467c-a947-4f8fc26d0f2e" providerId="ADAL" clId="{DE054CB8-BA24-472D-921B-3AF0C71E8B06}" dt="2021-09-30T21:37:36.584" v="2243" actId="20577"/>
        <pc:sldMkLst>
          <pc:docMk/>
          <pc:sldMk cId="2049075182" sldId="350"/>
        </pc:sldMkLst>
        <pc:graphicFrameChg chg="mod modGraphic">
          <ac:chgData name="Kory Thacher (APPS / POWERSHELL)" userId="995eb0f2-f21c-467c-a947-4f8fc26d0f2e" providerId="ADAL" clId="{DE054CB8-BA24-472D-921B-3AF0C71E8B06}" dt="2021-09-30T21:37:36.584" v="2243" actId="20577"/>
          <ac:graphicFrameMkLst>
            <pc:docMk/>
            <pc:sldMk cId="2049075182" sldId="350"/>
            <ac:graphicFrameMk id="2" creationId="{740EC26E-B7E1-4A1E-9E7A-EA3B17E49D3D}"/>
          </ac:graphicFrameMkLst>
        </pc:graphicFrameChg>
      </pc:sldChg>
      <pc:sldChg chg="modSp add mod modShow">
        <pc:chgData name="Kory Thacher (APPS / POWERSHELL)" userId="995eb0f2-f21c-467c-a947-4f8fc26d0f2e" providerId="ADAL" clId="{DE054CB8-BA24-472D-921B-3AF0C71E8B06}" dt="2021-09-30T21:43:35.156" v="2257" actId="729"/>
        <pc:sldMkLst>
          <pc:docMk/>
          <pc:sldMk cId="3887349899" sldId="351"/>
        </pc:sldMkLst>
        <pc:graphicFrameChg chg="mod">
          <ac:chgData name="Kory Thacher (APPS / POWERSHELL)" userId="995eb0f2-f21c-467c-a947-4f8fc26d0f2e" providerId="ADAL" clId="{DE054CB8-BA24-472D-921B-3AF0C71E8B06}" dt="2021-09-30T21:43:29.046" v="2256" actId="12100"/>
          <ac:graphicFrameMkLst>
            <pc:docMk/>
            <pc:sldMk cId="3887349899" sldId="351"/>
            <ac:graphicFrameMk id="2" creationId="{55472DAC-5BC2-4A9C-A295-5D57B2A4E50B}"/>
          </ac:graphicFrameMkLst>
        </pc:graphicFrameChg>
      </pc:sldChg>
      <pc:sldChg chg="modSp add del mod modShow">
        <pc:chgData name="Kory Thacher (APPS / POWERSHELL)" userId="995eb0f2-f21c-467c-a947-4f8fc26d0f2e" providerId="ADAL" clId="{DE054CB8-BA24-472D-921B-3AF0C71E8B06}" dt="2021-09-30T21:43:38.830" v="2258" actId="47"/>
        <pc:sldMkLst>
          <pc:docMk/>
          <pc:sldMk cId="3165178868" sldId="352"/>
        </pc:sldMkLst>
        <pc:graphicFrameChg chg="mod">
          <ac:chgData name="Kory Thacher (APPS / POWERSHELL)" userId="995eb0f2-f21c-467c-a947-4f8fc26d0f2e" providerId="ADAL" clId="{DE054CB8-BA24-472D-921B-3AF0C71E8B06}" dt="2021-09-30T19:57:06.223" v="2225" actId="12100"/>
          <ac:graphicFrameMkLst>
            <pc:docMk/>
            <pc:sldMk cId="3165178868" sldId="352"/>
            <ac:graphicFrameMk id="2" creationId="{55472DAC-5BC2-4A9C-A295-5D57B2A4E50B}"/>
          </ac:graphicFrameMkLst>
        </pc:graphicFrameChg>
      </pc:sldChg>
      <pc:sldChg chg="modSp add del mod">
        <pc:chgData name="Kory Thacher (APPS / POWERSHELL)" userId="995eb0f2-f21c-467c-a947-4f8fc26d0f2e" providerId="ADAL" clId="{DE054CB8-BA24-472D-921B-3AF0C71E8B06}" dt="2021-09-30T22:17:56.103" v="2815" actId="47"/>
        <pc:sldMkLst>
          <pc:docMk/>
          <pc:sldMk cId="3671941482" sldId="352"/>
        </pc:sldMkLst>
        <pc:spChg chg="mod">
          <ac:chgData name="Kory Thacher (APPS / POWERSHELL)" userId="995eb0f2-f21c-467c-a947-4f8fc26d0f2e" providerId="ADAL" clId="{DE054CB8-BA24-472D-921B-3AF0C71E8B06}" dt="2021-09-30T21:53:15.889" v="2438" actId="14100"/>
          <ac:spMkLst>
            <pc:docMk/>
            <pc:sldMk cId="3671941482" sldId="352"/>
            <ac:spMk id="3" creationId="{10AD338B-071A-4899-A028-E812531CCDE9}"/>
          </ac:spMkLst>
        </pc:spChg>
      </pc:sldChg>
      <pc:sldChg chg="modSp add del mod modShow">
        <pc:chgData name="Kory Thacher (APPS / POWERSHELL)" userId="995eb0f2-f21c-467c-a947-4f8fc26d0f2e" providerId="ADAL" clId="{DE054CB8-BA24-472D-921B-3AF0C71E8B06}" dt="2021-09-30T21:43:38.830" v="2258" actId="47"/>
        <pc:sldMkLst>
          <pc:docMk/>
          <pc:sldMk cId="2973569057" sldId="353"/>
        </pc:sldMkLst>
        <pc:graphicFrameChg chg="mod">
          <ac:chgData name="Kory Thacher (APPS / POWERSHELL)" userId="995eb0f2-f21c-467c-a947-4f8fc26d0f2e" providerId="ADAL" clId="{DE054CB8-BA24-472D-921B-3AF0C71E8B06}" dt="2021-09-30T19:57:22.537" v="2227" actId="12100"/>
          <ac:graphicFrameMkLst>
            <pc:docMk/>
            <pc:sldMk cId="2973569057" sldId="353"/>
            <ac:graphicFrameMk id="2" creationId="{55472DAC-5BC2-4A9C-A295-5D57B2A4E50B}"/>
          </ac:graphicFrameMkLst>
        </pc:graphicFrameChg>
      </pc:sldChg>
      <pc:sldChg chg="modSp add del mod">
        <pc:chgData name="Kory Thacher (APPS / POWERSHELL)" userId="995eb0f2-f21c-467c-a947-4f8fc26d0f2e" providerId="ADAL" clId="{DE054CB8-BA24-472D-921B-3AF0C71E8B06}" dt="2021-09-30T22:04:36.459" v="2518" actId="47"/>
        <pc:sldMkLst>
          <pc:docMk/>
          <pc:sldMk cId="3906363003" sldId="353"/>
        </pc:sldMkLst>
        <pc:spChg chg="mod">
          <ac:chgData name="Kory Thacher (APPS / POWERSHELL)" userId="995eb0f2-f21c-467c-a947-4f8fc26d0f2e" providerId="ADAL" clId="{DE054CB8-BA24-472D-921B-3AF0C71E8B06}" dt="2021-09-30T21:52:09.574" v="2436" actId="20577"/>
          <ac:spMkLst>
            <pc:docMk/>
            <pc:sldMk cId="3906363003" sldId="353"/>
            <ac:spMk id="2" creationId="{2819A274-3791-49C6-BC9A-CA36B0DFAA6B}"/>
          </ac:spMkLst>
        </pc:spChg>
        <pc:spChg chg="mod">
          <ac:chgData name="Kory Thacher (APPS / POWERSHELL)" userId="995eb0f2-f21c-467c-a947-4f8fc26d0f2e" providerId="ADAL" clId="{DE054CB8-BA24-472D-921B-3AF0C71E8B06}" dt="2021-09-30T21:58:43.446" v="2445" actId="20577"/>
          <ac:spMkLst>
            <pc:docMk/>
            <pc:sldMk cId="3906363003" sldId="353"/>
            <ac:spMk id="3" creationId="{10AD338B-071A-4899-A028-E812531CCDE9}"/>
          </ac:spMkLst>
        </pc:spChg>
      </pc:sldChg>
      <pc:sldChg chg="modSp del mod">
        <pc:chgData name="Kory Thacher (APPS / POWERSHELL)" userId="995eb0f2-f21c-467c-a947-4f8fc26d0f2e" providerId="ADAL" clId="{DE054CB8-BA24-472D-921B-3AF0C71E8B06}" dt="2021-09-30T22:17:57.714" v="2816" actId="47"/>
        <pc:sldMkLst>
          <pc:docMk/>
          <pc:sldMk cId="1475384191" sldId="354"/>
        </pc:sldMkLst>
        <pc:spChg chg="mod">
          <ac:chgData name="Kory Thacher (APPS / POWERSHELL)" userId="995eb0f2-f21c-467c-a947-4f8fc26d0f2e" providerId="ADAL" clId="{DE054CB8-BA24-472D-921B-3AF0C71E8B06}" dt="2021-09-30T22:03:30.420" v="2516" actId="27636"/>
          <ac:spMkLst>
            <pc:docMk/>
            <pc:sldMk cId="1475384191" sldId="354"/>
            <ac:spMk id="3" creationId="{10AD338B-071A-4899-A028-E812531CCDE9}"/>
          </ac:spMkLst>
        </pc:spChg>
      </pc:sldChg>
      <pc:sldChg chg="modSp add del mod modShow">
        <pc:chgData name="Kory Thacher (APPS / POWERSHELL)" userId="995eb0f2-f21c-467c-a947-4f8fc26d0f2e" providerId="ADAL" clId="{DE054CB8-BA24-472D-921B-3AF0C71E8B06}" dt="2021-09-30T21:43:06.669" v="2255" actId="47"/>
        <pc:sldMkLst>
          <pc:docMk/>
          <pc:sldMk cId="1641820645" sldId="354"/>
        </pc:sldMkLst>
        <pc:graphicFrameChg chg="mod">
          <ac:chgData name="Kory Thacher (APPS / POWERSHELL)" userId="995eb0f2-f21c-467c-a947-4f8fc26d0f2e" providerId="ADAL" clId="{DE054CB8-BA24-472D-921B-3AF0C71E8B06}" dt="2021-09-30T21:43:03.137" v="2254"/>
          <ac:graphicFrameMkLst>
            <pc:docMk/>
            <pc:sldMk cId="1641820645" sldId="354"/>
            <ac:graphicFrameMk id="2" creationId="{55472DAC-5BC2-4A9C-A295-5D57B2A4E50B}"/>
          </ac:graphicFrameMkLst>
        </pc:graphicFrameChg>
      </pc:sldChg>
      <pc:sldChg chg="add del">
        <pc:chgData name="Kory Thacher (APPS / POWERSHELL)" userId="995eb0f2-f21c-467c-a947-4f8fc26d0f2e" providerId="ADAL" clId="{DE054CB8-BA24-472D-921B-3AF0C71E8B06}" dt="2021-09-30T21:36:29.956" v="2240" actId="47"/>
        <pc:sldMkLst>
          <pc:docMk/>
          <pc:sldMk cId="1691766186" sldId="355"/>
        </pc:sldMkLst>
      </pc:sldChg>
      <pc:sldChg chg="addSp delSp modSp add mod modShow modNotesTx">
        <pc:chgData name="Kory Thacher (APPS / POWERSHELL)" userId="995eb0f2-f21c-467c-a947-4f8fc26d0f2e" providerId="ADAL" clId="{DE054CB8-BA24-472D-921B-3AF0C71E8B06}" dt="2021-09-30T22:44:38.558" v="3870" actId="20577"/>
        <pc:sldMkLst>
          <pc:docMk/>
          <pc:sldMk cId="3674094981" sldId="355"/>
        </pc:sldMkLst>
        <pc:spChg chg="mod">
          <ac:chgData name="Kory Thacher (APPS / POWERSHELL)" userId="995eb0f2-f21c-467c-a947-4f8fc26d0f2e" providerId="ADAL" clId="{DE054CB8-BA24-472D-921B-3AF0C71E8B06}" dt="2021-09-30T22:44:38.558" v="3870" actId="20577"/>
          <ac:spMkLst>
            <pc:docMk/>
            <pc:sldMk cId="3674094981" sldId="355"/>
            <ac:spMk id="2" creationId="{2819A274-3791-49C6-BC9A-CA36B0DFAA6B}"/>
          </ac:spMkLst>
        </pc:spChg>
        <pc:spChg chg="del">
          <ac:chgData name="Kory Thacher (APPS / POWERSHELL)" userId="995eb0f2-f21c-467c-a947-4f8fc26d0f2e" providerId="ADAL" clId="{DE054CB8-BA24-472D-921B-3AF0C71E8B06}" dt="2021-09-30T22:04:48.344" v="2519" actId="12084"/>
          <ac:spMkLst>
            <pc:docMk/>
            <pc:sldMk cId="3674094981" sldId="355"/>
            <ac:spMk id="3" creationId="{10AD338B-071A-4899-A028-E812531CCDE9}"/>
          </ac:spMkLst>
        </pc:spChg>
        <pc:graphicFrameChg chg="add mod modGraphic">
          <ac:chgData name="Kory Thacher (APPS / POWERSHELL)" userId="995eb0f2-f21c-467c-a947-4f8fc26d0f2e" providerId="ADAL" clId="{DE054CB8-BA24-472D-921B-3AF0C71E8B06}" dt="2021-09-30T22:07:30.560" v="2538" actId="12"/>
          <ac:graphicFrameMkLst>
            <pc:docMk/>
            <pc:sldMk cId="3674094981" sldId="355"/>
            <ac:graphicFrameMk id="4" creationId="{952BBD48-ED2E-4B70-A723-3722F55099B2}"/>
          </ac:graphicFrameMkLst>
        </pc:graphicFrameChg>
        <pc:picChg chg="mod">
          <ac:chgData name="Kory Thacher (APPS / POWERSHELL)" userId="995eb0f2-f21c-467c-a947-4f8fc26d0f2e" providerId="ADAL" clId="{DE054CB8-BA24-472D-921B-3AF0C71E8B06}" dt="2021-09-30T22:05:33.571" v="2530" actId="1076"/>
          <ac:picMkLst>
            <pc:docMk/>
            <pc:sldMk cId="3674094981" sldId="355"/>
            <ac:picMk id="5" creationId="{6773F7C9-76A9-4A1B-93AC-E3DD0DB9E7EA}"/>
          </ac:picMkLst>
        </pc:picChg>
        <pc:picChg chg="mod">
          <ac:chgData name="Kory Thacher (APPS / POWERSHELL)" userId="995eb0f2-f21c-467c-a947-4f8fc26d0f2e" providerId="ADAL" clId="{DE054CB8-BA24-472D-921B-3AF0C71E8B06}" dt="2021-09-30T22:05:36.572" v="2532" actId="1076"/>
          <ac:picMkLst>
            <pc:docMk/>
            <pc:sldMk cId="3674094981" sldId="355"/>
            <ac:picMk id="7" creationId="{F67306EE-F104-4243-A906-E35FC305B38A}"/>
          </ac:picMkLst>
        </pc:picChg>
        <pc:picChg chg="mod">
          <ac:chgData name="Kory Thacher (APPS / POWERSHELL)" userId="995eb0f2-f21c-467c-a947-4f8fc26d0f2e" providerId="ADAL" clId="{DE054CB8-BA24-472D-921B-3AF0C71E8B06}" dt="2021-09-30T22:05:35.338" v="2531" actId="1076"/>
          <ac:picMkLst>
            <pc:docMk/>
            <pc:sldMk cId="3674094981" sldId="355"/>
            <ac:picMk id="9" creationId="{1F8E719E-2FC4-443D-AA72-D59F36F2CD84}"/>
          </ac:picMkLst>
        </pc:picChg>
        <pc:picChg chg="add del mod modCrop">
          <ac:chgData name="Kory Thacher (APPS / POWERSHELL)" userId="995eb0f2-f21c-467c-a947-4f8fc26d0f2e" providerId="ADAL" clId="{DE054CB8-BA24-472D-921B-3AF0C71E8B06}" dt="2021-09-30T22:13:36.316" v="2560" actId="478"/>
          <ac:picMkLst>
            <pc:docMk/>
            <pc:sldMk cId="3674094981" sldId="355"/>
            <ac:picMk id="10" creationId="{8CBE4600-6F5E-429A-8DAA-C1953F5B6664}"/>
          </ac:picMkLst>
        </pc:picChg>
        <pc:picChg chg="add mod modCrop">
          <ac:chgData name="Kory Thacher (APPS / POWERSHELL)" userId="995eb0f2-f21c-467c-a947-4f8fc26d0f2e" providerId="ADAL" clId="{DE054CB8-BA24-472D-921B-3AF0C71E8B06}" dt="2021-09-30T22:19:16.092" v="2820" actId="732"/>
          <ac:picMkLst>
            <pc:docMk/>
            <pc:sldMk cId="3674094981" sldId="355"/>
            <ac:picMk id="13" creationId="{0EE5D587-26AB-4956-BB4E-832441723306}"/>
          </ac:picMkLst>
        </pc:picChg>
      </pc:sldChg>
      <pc:sldChg chg="modSp add mod">
        <pc:chgData name="Kory Thacher (APPS / POWERSHELL)" userId="995eb0f2-f21c-467c-a947-4f8fc26d0f2e" providerId="ADAL" clId="{DE054CB8-BA24-472D-921B-3AF0C71E8B06}" dt="2021-09-30T22:40:54.065" v="3738" actId="20577"/>
        <pc:sldMkLst>
          <pc:docMk/>
          <pc:sldMk cId="1914468382" sldId="356"/>
        </pc:sldMkLst>
        <pc:spChg chg="mod">
          <ac:chgData name="Kory Thacher (APPS / POWERSHELL)" userId="995eb0f2-f21c-467c-a947-4f8fc26d0f2e" providerId="ADAL" clId="{DE054CB8-BA24-472D-921B-3AF0C71E8B06}" dt="2021-09-30T22:40:54.065" v="3738" actId="20577"/>
          <ac:spMkLst>
            <pc:docMk/>
            <pc:sldMk cId="1914468382" sldId="356"/>
            <ac:spMk id="6" creationId="{00000000-0000-0000-0000-000000000000}"/>
          </ac:spMkLst>
        </pc:spChg>
      </pc:sldChg>
      <pc:sldChg chg="modSp add del mod">
        <pc:chgData name="Kory Thacher (APPS / POWERSHELL)" userId="995eb0f2-f21c-467c-a947-4f8fc26d0f2e" providerId="ADAL" clId="{DE054CB8-BA24-472D-921B-3AF0C71E8B06}" dt="2021-09-30T22:07:06.890" v="2536" actId="47"/>
        <pc:sldMkLst>
          <pc:docMk/>
          <pc:sldMk cId="2740795089" sldId="356"/>
        </pc:sldMkLst>
        <pc:graphicFrameChg chg="mod">
          <ac:chgData name="Kory Thacher (APPS / POWERSHELL)" userId="995eb0f2-f21c-467c-a947-4f8fc26d0f2e" providerId="ADAL" clId="{DE054CB8-BA24-472D-921B-3AF0C71E8B06}" dt="2021-09-30T22:06:23.394" v="2535" actId="14100"/>
          <ac:graphicFrameMkLst>
            <pc:docMk/>
            <pc:sldMk cId="2740795089" sldId="356"/>
            <ac:graphicFrameMk id="4" creationId="{952BBD48-ED2E-4B70-A723-3722F55099B2}"/>
          </ac:graphicFrameMkLst>
        </pc:graphicFrameChg>
      </pc:sldChg>
      <pc:sldChg chg="modSp add mod">
        <pc:chgData name="Kory Thacher (APPS / POWERSHELL)" userId="995eb0f2-f21c-467c-a947-4f8fc26d0f2e" providerId="ADAL" clId="{DE054CB8-BA24-472D-921B-3AF0C71E8B06}" dt="2021-09-30T22:42:05.657" v="3761" actId="20577"/>
        <pc:sldMkLst>
          <pc:docMk/>
          <pc:sldMk cId="908733353" sldId="357"/>
        </pc:sldMkLst>
        <pc:spChg chg="mod">
          <ac:chgData name="Kory Thacher (APPS / POWERSHELL)" userId="995eb0f2-f21c-467c-a947-4f8fc26d0f2e" providerId="ADAL" clId="{DE054CB8-BA24-472D-921B-3AF0C71E8B06}" dt="2021-09-30T22:42:05.657" v="3761" actId="20577"/>
          <ac:spMkLst>
            <pc:docMk/>
            <pc:sldMk cId="908733353" sldId="357"/>
            <ac:spMk id="6" creationId="{00000000-0000-0000-0000-000000000000}"/>
          </ac:spMkLst>
        </pc:spChg>
      </pc:sldChg>
      <pc:sldChg chg="modSp add del mod">
        <pc:chgData name="Kory Thacher (APPS / POWERSHELL)" userId="995eb0f2-f21c-467c-a947-4f8fc26d0f2e" providerId="ADAL" clId="{DE054CB8-BA24-472D-921B-3AF0C71E8B06}" dt="2021-09-30T22:42:53.378" v="3796" actId="47"/>
        <pc:sldMkLst>
          <pc:docMk/>
          <pc:sldMk cId="3680054968" sldId="358"/>
        </pc:sldMkLst>
        <pc:spChg chg="mod">
          <ac:chgData name="Kory Thacher (APPS / POWERSHELL)" userId="995eb0f2-f21c-467c-a947-4f8fc26d0f2e" providerId="ADAL" clId="{DE054CB8-BA24-472D-921B-3AF0C71E8B06}" dt="2021-09-30T22:42:30.322" v="3793" actId="20577"/>
          <ac:spMkLst>
            <pc:docMk/>
            <pc:sldMk cId="3680054968" sldId="358"/>
            <ac:spMk id="6" creationId="{00000000-0000-0000-0000-000000000000}"/>
          </ac:spMkLst>
        </pc:spChg>
      </pc:sldChg>
      <pc:sldChg chg="modSp add mod">
        <pc:chgData name="Kory Thacher (APPS / POWERSHELL)" userId="995eb0f2-f21c-467c-a947-4f8fc26d0f2e" providerId="ADAL" clId="{DE054CB8-BA24-472D-921B-3AF0C71E8B06}" dt="2021-09-30T22:43:16.657" v="3825" actId="20577"/>
        <pc:sldMkLst>
          <pc:docMk/>
          <pc:sldMk cId="4010731363" sldId="358"/>
        </pc:sldMkLst>
        <pc:spChg chg="mod">
          <ac:chgData name="Kory Thacher (APPS / POWERSHELL)" userId="995eb0f2-f21c-467c-a947-4f8fc26d0f2e" providerId="ADAL" clId="{DE054CB8-BA24-472D-921B-3AF0C71E8B06}" dt="2021-09-30T22:43:16.657" v="3825" actId="20577"/>
          <ac:spMkLst>
            <pc:docMk/>
            <pc:sldMk cId="4010731363" sldId="358"/>
            <ac:spMk id="6" creationId="{00000000-0000-0000-0000-000000000000}"/>
          </ac:spMkLst>
        </pc:spChg>
      </pc:sldChg>
      <pc:sldChg chg="modSp mod">
        <pc:chgData name="Kory Thacher (APPS / POWERSHELL)" userId="995eb0f2-f21c-467c-a947-4f8fc26d0f2e" providerId="ADAL" clId="{DE054CB8-BA24-472D-921B-3AF0C71E8B06}" dt="2021-09-30T22:50:36.344" v="3894" actId="167"/>
        <pc:sldMkLst>
          <pc:docMk/>
          <pc:sldMk cId="922459630" sldId="359"/>
        </pc:sldMkLst>
        <pc:picChg chg="ord">
          <ac:chgData name="Kory Thacher (APPS / POWERSHELL)" userId="995eb0f2-f21c-467c-a947-4f8fc26d0f2e" providerId="ADAL" clId="{DE054CB8-BA24-472D-921B-3AF0C71E8B06}" dt="2021-09-30T22:50:36.344" v="3894" actId="167"/>
          <ac:picMkLst>
            <pc:docMk/>
            <pc:sldMk cId="922459630" sldId="359"/>
            <ac:picMk id="6" creationId="{B7C0E927-0FEA-4657-8AC1-BD7EFD9567C4}"/>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ata1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ata1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s>
</file>

<file path=ppt/diagrams/_rels/data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diagrams/_rels/data19.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diagrams/_rels/data20.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84.png"/></Relationships>
</file>

<file path=ppt/diagrams/_rels/data21.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svg"/><Relationship Id="rId2" Type="http://schemas.openxmlformats.org/officeDocument/2006/relationships/image" Target="../media/image87.svg"/><Relationship Id="rId1" Type="http://schemas.openxmlformats.org/officeDocument/2006/relationships/image" Target="../media/image86.png"/><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diagrams/_rels/data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ata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ata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rawing1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rawing1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s>
</file>

<file path=ppt/diagrams/_rels/drawing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diagrams/_rels/drawing19.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diagrams/_rels/drawing20.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84.png"/></Relationships>
</file>

<file path=ppt/diagrams/_rels/drawing21.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svg"/><Relationship Id="rId2" Type="http://schemas.openxmlformats.org/officeDocument/2006/relationships/image" Target="../media/image87.svg"/><Relationship Id="rId1" Type="http://schemas.openxmlformats.org/officeDocument/2006/relationships/image" Target="../media/image86.png"/><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diagrams/_rels/drawing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3E1BFD-C3DE-4077-896F-1F67E740E3D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6C43588-EB0D-4E33-AC99-C27C99EC4AD3}">
      <dgm:prSet custT="1"/>
      <dgm:spPr/>
      <dgm:t>
        <a:bodyPr/>
        <a:lstStyle/>
        <a:p>
          <a:pPr>
            <a:lnSpc>
              <a:spcPct val="100000"/>
            </a:lnSpc>
          </a:pPr>
          <a:r>
            <a:rPr lang="en-US" sz="2800" b="1"/>
            <a:t>Improve</a:t>
          </a:r>
          <a:r>
            <a:rPr lang="en-US" sz="2800"/>
            <a:t> collaboration</a:t>
          </a:r>
        </a:p>
      </dgm:t>
    </dgm:pt>
    <dgm:pt modelId="{6A132A93-EF0E-43D5-8B26-95653F6A87F6}" type="parTrans" cxnId="{715F81D7-E3FA-4430-A465-3ABD02D22A55}">
      <dgm:prSet/>
      <dgm:spPr/>
      <dgm:t>
        <a:bodyPr/>
        <a:lstStyle/>
        <a:p>
          <a:endParaRPr lang="en-US" sz="2800"/>
        </a:p>
      </dgm:t>
    </dgm:pt>
    <dgm:pt modelId="{FC88240E-7867-48E4-B4A8-F9AFEC0B63F8}" type="sibTrans" cxnId="{715F81D7-E3FA-4430-A465-3ABD02D22A55}">
      <dgm:prSet/>
      <dgm:spPr/>
      <dgm:t>
        <a:bodyPr/>
        <a:lstStyle/>
        <a:p>
          <a:endParaRPr lang="en-US" sz="2800"/>
        </a:p>
      </dgm:t>
    </dgm:pt>
    <dgm:pt modelId="{88F236D8-02DC-48B0-819B-7D0BFEB5E1E5}">
      <dgm:prSet custT="1"/>
      <dgm:spPr/>
      <dgm:t>
        <a:bodyPr/>
        <a:lstStyle/>
        <a:p>
          <a:pPr>
            <a:lnSpc>
              <a:spcPct val="100000"/>
            </a:lnSpc>
          </a:pPr>
          <a:r>
            <a:rPr lang="en-US" sz="2800" b="1"/>
            <a:t>Enable</a:t>
          </a:r>
          <a:r>
            <a:rPr lang="en-US" sz="2800"/>
            <a:t> parallel development</a:t>
          </a:r>
        </a:p>
      </dgm:t>
    </dgm:pt>
    <dgm:pt modelId="{9650731E-18C5-4DDE-862A-62E5BD34E9FA}" type="parTrans" cxnId="{BEEC4AC5-146E-47D5-9202-B2CFF21F34A2}">
      <dgm:prSet/>
      <dgm:spPr/>
      <dgm:t>
        <a:bodyPr/>
        <a:lstStyle/>
        <a:p>
          <a:endParaRPr lang="en-US" sz="2800"/>
        </a:p>
      </dgm:t>
    </dgm:pt>
    <dgm:pt modelId="{25B96D18-051C-4188-B603-B912161D295E}" type="sibTrans" cxnId="{BEEC4AC5-146E-47D5-9202-B2CFF21F34A2}">
      <dgm:prSet/>
      <dgm:spPr/>
      <dgm:t>
        <a:bodyPr/>
        <a:lstStyle/>
        <a:p>
          <a:endParaRPr lang="en-US" sz="2800"/>
        </a:p>
      </dgm:t>
    </dgm:pt>
    <dgm:pt modelId="{DF142426-0EFE-42E0-8228-6130F91AA7DE}">
      <dgm:prSet custT="1"/>
      <dgm:spPr/>
      <dgm:t>
        <a:bodyPr/>
        <a:lstStyle/>
        <a:p>
          <a:pPr>
            <a:lnSpc>
              <a:spcPct val="100000"/>
            </a:lnSpc>
          </a:pPr>
          <a:r>
            <a:rPr lang="en-US" sz="2800" b="1"/>
            <a:t>Minimize</a:t>
          </a:r>
          <a:r>
            <a:rPr lang="en-US" sz="2800"/>
            <a:t> integration debt</a:t>
          </a:r>
        </a:p>
      </dgm:t>
    </dgm:pt>
    <dgm:pt modelId="{22200BF6-5F85-414D-B38D-000BD5097D98}" type="parTrans" cxnId="{6C4F5D6E-5FAE-434E-8AFA-E9800B56FABE}">
      <dgm:prSet/>
      <dgm:spPr/>
      <dgm:t>
        <a:bodyPr/>
        <a:lstStyle/>
        <a:p>
          <a:endParaRPr lang="en-US" sz="2800"/>
        </a:p>
      </dgm:t>
    </dgm:pt>
    <dgm:pt modelId="{DA532924-D4A8-40B8-A422-46EB0CEF8AEE}" type="sibTrans" cxnId="{6C4F5D6E-5FAE-434E-8AFA-E9800B56FABE}">
      <dgm:prSet/>
      <dgm:spPr/>
      <dgm:t>
        <a:bodyPr/>
        <a:lstStyle/>
        <a:p>
          <a:endParaRPr lang="en-US" sz="2800"/>
        </a:p>
      </dgm:t>
    </dgm:pt>
    <dgm:pt modelId="{3AEB5ED1-884B-47D1-A8B1-CD19122B6D82}">
      <dgm:prSet custT="1"/>
      <dgm:spPr/>
      <dgm:t>
        <a:bodyPr/>
        <a:lstStyle/>
        <a:p>
          <a:pPr>
            <a:lnSpc>
              <a:spcPct val="100000"/>
            </a:lnSpc>
          </a:pPr>
          <a:r>
            <a:rPr lang="en-US" sz="2800" b="1"/>
            <a:t>Manage</a:t>
          </a:r>
          <a:r>
            <a:rPr lang="en-US" sz="2800"/>
            <a:t> versions with the ability to roll back</a:t>
          </a:r>
        </a:p>
      </dgm:t>
    </dgm:pt>
    <dgm:pt modelId="{0F275C5D-9B8A-466A-B20D-E85A86157B2C}" type="parTrans" cxnId="{9201B69C-DC6C-41F6-A9FE-B7CFCAB1A4B7}">
      <dgm:prSet/>
      <dgm:spPr/>
      <dgm:t>
        <a:bodyPr/>
        <a:lstStyle/>
        <a:p>
          <a:endParaRPr lang="en-US" sz="2800"/>
        </a:p>
      </dgm:t>
    </dgm:pt>
    <dgm:pt modelId="{4D218FFE-4054-42DB-AB38-C32B95156F97}" type="sibTrans" cxnId="{9201B69C-DC6C-41F6-A9FE-B7CFCAB1A4B7}">
      <dgm:prSet/>
      <dgm:spPr/>
      <dgm:t>
        <a:bodyPr/>
        <a:lstStyle/>
        <a:p>
          <a:endParaRPr lang="en-US" sz="2800"/>
        </a:p>
      </dgm:t>
    </dgm:pt>
    <dgm:pt modelId="{5C275F45-C5CE-4866-9E73-11357C26DE59}">
      <dgm:prSet custT="1"/>
      <dgm:spPr/>
      <dgm:t>
        <a:bodyPr/>
        <a:lstStyle/>
        <a:p>
          <a:pPr>
            <a:lnSpc>
              <a:spcPct val="100000"/>
            </a:lnSpc>
          </a:pPr>
          <a:r>
            <a:rPr lang="en-US" sz="2800" b="1"/>
            <a:t>Build</a:t>
          </a:r>
          <a:r>
            <a:rPr lang="en-US" sz="2800"/>
            <a:t> DevOps processes</a:t>
          </a:r>
        </a:p>
      </dgm:t>
    </dgm:pt>
    <dgm:pt modelId="{39BDBA0A-2446-4D89-B362-1B5BF07A2531}" type="parTrans" cxnId="{FA3377F6-1EE5-43F1-B932-C4A3CB97070C}">
      <dgm:prSet/>
      <dgm:spPr/>
      <dgm:t>
        <a:bodyPr/>
        <a:lstStyle/>
        <a:p>
          <a:endParaRPr lang="en-US"/>
        </a:p>
      </dgm:t>
    </dgm:pt>
    <dgm:pt modelId="{8EF40144-6C5A-49E9-88CF-525A9219320D}" type="sibTrans" cxnId="{FA3377F6-1EE5-43F1-B932-C4A3CB97070C}">
      <dgm:prSet/>
      <dgm:spPr/>
      <dgm:t>
        <a:bodyPr/>
        <a:lstStyle/>
        <a:p>
          <a:endParaRPr lang="en-US"/>
        </a:p>
      </dgm:t>
    </dgm:pt>
    <dgm:pt modelId="{69B10777-A8E0-4B90-8D22-CBD150DDF420}" type="pres">
      <dgm:prSet presAssocID="{5E3E1BFD-C3DE-4077-896F-1F67E740E3DA}" presName="root" presStyleCnt="0">
        <dgm:presLayoutVars>
          <dgm:dir/>
          <dgm:resizeHandles val="exact"/>
        </dgm:presLayoutVars>
      </dgm:prSet>
      <dgm:spPr/>
    </dgm:pt>
    <dgm:pt modelId="{ABD462C4-77AE-410A-9D4D-A511E7DB8289}" type="pres">
      <dgm:prSet presAssocID="{96C43588-EB0D-4E33-AC99-C27C99EC4AD3}" presName="compNode" presStyleCnt="0"/>
      <dgm:spPr/>
    </dgm:pt>
    <dgm:pt modelId="{98F8AA9E-1A97-4A93-B783-2494838E4AB9}" type="pres">
      <dgm:prSet presAssocID="{96C43588-EB0D-4E33-AC99-C27C99EC4AD3}" presName="bgRect" presStyleLbl="bgShp" presStyleIdx="0" presStyleCnt="5"/>
      <dgm:spPr/>
    </dgm:pt>
    <dgm:pt modelId="{F6A93692-3A02-498B-B009-2E1E404EE69B}" type="pres">
      <dgm:prSet presAssocID="{96C43588-EB0D-4E33-AC99-C27C99EC4AD3}"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hake"/>
        </a:ext>
      </dgm:extLst>
    </dgm:pt>
    <dgm:pt modelId="{4371FA43-1F12-45C7-A84B-5D9C5C21A32D}" type="pres">
      <dgm:prSet presAssocID="{96C43588-EB0D-4E33-AC99-C27C99EC4AD3}" presName="spaceRect" presStyleCnt="0"/>
      <dgm:spPr/>
    </dgm:pt>
    <dgm:pt modelId="{3F220836-1F43-419E-B7C0-A70DF7DF3085}" type="pres">
      <dgm:prSet presAssocID="{96C43588-EB0D-4E33-AC99-C27C99EC4AD3}" presName="parTx" presStyleLbl="revTx" presStyleIdx="0" presStyleCnt="5">
        <dgm:presLayoutVars>
          <dgm:chMax val="0"/>
          <dgm:chPref val="0"/>
        </dgm:presLayoutVars>
      </dgm:prSet>
      <dgm:spPr/>
    </dgm:pt>
    <dgm:pt modelId="{EA38B33A-24E9-4E7E-B440-0CE0C7853A4C}" type="pres">
      <dgm:prSet presAssocID="{FC88240E-7867-48E4-B4A8-F9AFEC0B63F8}" presName="sibTrans" presStyleCnt="0"/>
      <dgm:spPr/>
    </dgm:pt>
    <dgm:pt modelId="{6CD1BB1A-FCDB-48FC-89A8-B830D602CC6E}" type="pres">
      <dgm:prSet presAssocID="{88F236D8-02DC-48B0-819B-7D0BFEB5E1E5}" presName="compNode" presStyleCnt="0"/>
      <dgm:spPr/>
    </dgm:pt>
    <dgm:pt modelId="{33CA625F-9F51-48EB-94F1-BFE84A98A5FC}" type="pres">
      <dgm:prSet presAssocID="{88F236D8-02DC-48B0-819B-7D0BFEB5E1E5}" presName="bgRect" presStyleLbl="bgShp" presStyleIdx="1" presStyleCnt="5"/>
      <dgm:spPr/>
    </dgm:pt>
    <dgm:pt modelId="{107E4D9A-DE53-492E-A53A-2BAA710E2117}" type="pres">
      <dgm:prSet presAssocID="{88F236D8-02DC-48B0-819B-7D0BFEB5E1E5}"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E262964C-CC31-4A36-B043-A07451095332}" type="pres">
      <dgm:prSet presAssocID="{88F236D8-02DC-48B0-819B-7D0BFEB5E1E5}" presName="spaceRect" presStyleCnt="0"/>
      <dgm:spPr/>
    </dgm:pt>
    <dgm:pt modelId="{54526B59-6A2F-492E-ABF2-BFAAD6A6AC1F}" type="pres">
      <dgm:prSet presAssocID="{88F236D8-02DC-48B0-819B-7D0BFEB5E1E5}" presName="parTx" presStyleLbl="revTx" presStyleIdx="1" presStyleCnt="5">
        <dgm:presLayoutVars>
          <dgm:chMax val="0"/>
          <dgm:chPref val="0"/>
        </dgm:presLayoutVars>
      </dgm:prSet>
      <dgm:spPr/>
    </dgm:pt>
    <dgm:pt modelId="{89F90DA1-DAA4-4D1F-9F3C-AE68A5C9C96A}" type="pres">
      <dgm:prSet presAssocID="{25B96D18-051C-4188-B603-B912161D295E}" presName="sibTrans" presStyleCnt="0"/>
      <dgm:spPr/>
    </dgm:pt>
    <dgm:pt modelId="{3E6F63B7-1811-47F8-B888-6BCA2A3DFDD4}" type="pres">
      <dgm:prSet presAssocID="{DF142426-0EFE-42E0-8228-6130F91AA7DE}" presName="compNode" presStyleCnt="0"/>
      <dgm:spPr/>
    </dgm:pt>
    <dgm:pt modelId="{985C680F-F63B-442F-B42E-405458B6B051}" type="pres">
      <dgm:prSet presAssocID="{DF142426-0EFE-42E0-8228-6130F91AA7DE}" presName="bgRect" presStyleLbl="bgShp" presStyleIdx="2" presStyleCnt="5"/>
      <dgm:spPr/>
    </dgm:pt>
    <dgm:pt modelId="{F98AB81D-CE0F-4224-9FDA-A321A2D3F2F2}" type="pres">
      <dgm:prSet presAssocID="{DF142426-0EFE-42E0-8228-6130F91AA7DE}"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C0CBE4FE-C68B-40B3-9F42-3E3A783733BD}" type="pres">
      <dgm:prSet presAssocID="{DF142426-0EFE-42E0-8228-6130F91AA7DE}" presName="spaceRect" presStyleCnt="0"/>
      <dgm:spPr/>
    </dgm:pt>
    <dgm:pt modelId="{7F5D6FC9-A498-490B-8EEA-DD03E75B02B4}" type="pres">
      <dgm:prSet presAssocID="{DF142426-0EFE-42E0-8228-6130F91AA7DE}" presName="parTx" presStyleLbl="revTx" presStyleIdx="2" presStyleCnt="5">
        <dgm:presLayoutVars>
          <dgm:chMax val="0"/>
          <dgm:chPref val="0"/>
        </dgm:presLayoutVars>
      </dgm:prSet>
      <dgm:spPr/>
    </dgm:pt>
    <dgm:pt modelId="{76BE3544-E25F-4AA0-92A2-9EEF93DB647C}" type="pres">
      <dgm:prSet presAssocID="{DA532924-D4A8-40B8-A422-46EB0CEF8AEE}" presName="sibTrans" presStyleCnt="0"/>
      <dgm:spPr/>
    </dgm:pt>
    <dgm:pt modelId="{BD24D7EE-1048-42D0-8165-BED9A326A58D}" type="pres">
      <dgm:prSet presAssocID="{3AEB5ED1-884B-47D1-A8B1-CD19122B6D82}" presName="compNode" presStyleCnt="0"/>
      <dgm:spPr/>
    </dgm:pt>
    <dgm:pt modelId="{1A19ECF8-CBD6-4FE1-9D04-6533D0829CF1}" type="pres">
      <dgm:prSet presAssocID="{3AEB5ED1-884B-47D1-A8B1-CD19122B6D82}" presName="bgRect" presStyleLbl="bgShp" presStyleIdx="3" presStyleCnt="5"/>
      <dgm:spPr/>
    </dgm:pt>
    <dgm:pt modelId="{AD1B493F-87D0-4837-B64B-013774CFE420}" type="pres">
      <dgm:prSet presAssocID="{3AEB5ED1-884B-47D1-A8B1-CD19122B6D82}"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Arrow circle"/>
        </a:ext>
      </dgm:extLst>
    </dgm:pt>
    <dgm:pt modelId="{41B3FE16-AF7F-40F9-BEB2-DD6D20708266}" type="pres">
      <dgm:prSet presAssocID="{3AEB5ED1-884B-47D1-A8B1-CD19122B6D82}" presName="spaceRect" presStyleCnt="0"/>
      <dgm:spPr/>
    </dgm:pt>
    <dgm:pt modelId="{963E21F2-1A0A-4854-AE98-AA75ED596E46}" type="pres">
      <dgm:prSet presAssocID="{3AEB5ED1-884B-47D1-A8B1-CD19122B6D82}" presName="parTx" presStyleLbl="revTx" presStyleIdx="3" presStyleCnt="5">
        <dgm:presLayoutVars>
          <dgm:chMax val="0"/>
          <dgm:chPref val="0"/>
        </dgm:presLayoutVars>
      </dgm:prSet>
      <dgm:spPr/>
    </dgm:pt>
    <dgm:pt modelId="{3CC9964E-3236-4FB1-AAA1-244868CC5954}" type="pres">
      <dgm:prSet presAssocID="{4D218FFE-4054-42DB-AB38-C32B95156F97}" presName="sibTrans" presStyleCnt="0"/>
      <dgm:spPr/>
    </dgm:pt>
    <dgm:pt modelId="{9EEC62EB-FC4F-4A1E-88AD-75E48E988429}" type="pres">
      <dgm:prSet presAssocID="{5C275F45-C5CE-4866-9E73-11357C26DE59}" presName="compNode" presStyleCnt="0"/>
      <dgm:spPr/>
    </dgm:pt>
    <dgm:pt modelId="{C28EFDA9-2416-4C66-AD11-6E66EEBCA2EC}" type="pres">
      <dgm:prSet presAssocID="{5C275F45-C5CE-4866-9E73-11357C26DE59}" presName="bgRect" presStyleLbl="bgShp" presStyleIdx="4" presStyleCnt="5"/>
      <dgm:spPr/>
    </dgm:pt>
    <dgm:pt modelId="{84005666-14B7-489C-9A4D-C5FDF0F0754C}" type="pres">
      <dgm:prSet presAssocID="{5C275F45-C5CE-4866-9E73-11357C26DE59}"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Brain in head with solid fill"/>
        </a:ext>
      </dgm:extLst>
    </dgm:pt>
    <dgm:pt modelId="{DBE19A71-E7F0-4ED9-904A-B4A130DE919A}" type="pres">
      <dgm:prSet presAssocID="{5C275F45-C5CE-4866-9E73-11357C26DE59}" presName="spaceRect" presStyleCnt="0"/>
      <dgm:spPr/>
    </dgm:pt>
    <dgm:pt modelId="{E256BEE4-BDBF-48EC-A411-788D5C619491}" type="pres">
      <dgm:prSet presAssocID="{5C275F45-C5CE-4866-9E73-11357C26DE59}" presName="parTx" presStyleLbl="revTx" presStyleIdx="4" presStyleCnt="5">
        <dgm:presLayoutVars>
          <dgm:chMax val="0"/>
          <dgm:chPref val="0"/>
        </dgm:presLayoutVars>
      </dgm:prSet>
      <dgm:spPr/>
    </dgm:pt>
  </dgm:ptLst>
  <dgm:cxnLst>
    <dgm:cxn modelId="{22FBC942-0C7B-45D5-A750-BF88A5074B7B}" type="presOf" srcId="{DF142426-0EFE-42E0-8228-6130F91AA7DE}" destId="{7F5D6FC9-A498-490B-8EEA-DD03E75B02B4}" srcOrd="0" destOrd="0" presId="urn:microsoft.com/office/officeart/2018/2/layout/IconVerticalSolidList"/>
    <dgm:cxn modelId="{6C4F5D6E-5FAE-434E-8AFA-E9800B56FABE}" srcId="{5E3E1BFD-C3DE-4077-896F-1F67E740E3DA}" destId="{DF142426-0EFE-42E0-8228-6130F91AA7DE}" srcOrd="2" destOrd="0" parTransId="{22200BF6-5F85-414D-B38D-000BD5097D98}" sibTransId="{DA532924-D4A8-40B8-A422-46EB0CEF8AEE}"/>
    <dgm:cxn modelId="{6F64448D-00EE-4812-A9D8-072047FB1304}" type="presOf" srcId="{5E3E1BFD-C3DE-4077-896F-1F67E740E3DA}" destId="{69B10777-A8E0-4B90-8D22-CBD150DDF420}" srcOrd="0" destOrd="0" presId="urn:microsoft.com/office/officeart/2018/2/layout/IconVerticalSolidList"/>
    <dgm:cxn modelId="{9201B69C-DC6C-41F6-A9FE-B7CFCAB1A4B7}" srcId="{5E3E1BFD-C3DE-4077-896F-1F67E740E3DA}" destId="{3AEB5ED1-884B-47D1-A8B1-CD19122B6D82}" srcOrd="3" destOrd="0" parTransId="{0F275C5D-9B8A-466A-B20D-E85A86157B2C}" sibTransId="{4D218FFE-4054-42DB-AB38-C32B95156F97}"/>
    <dgm:cxn modelId="{A264259E-72D5-4D68-A1D7-A6699E4DD7A4}" type="presOf" srcId="{3AEB5ED1-884B-47D1-A8B1-CD19122B6D82}" destId="{963E21F2-1A0A-4854-AE98-AA75ED596E46}" srcOrd="0" destOrd="0" presId="urn:microsoft.com/office/officeart/2018/2/layout/IconVerticalSolidList"/>
    <dgm:cxn modelId="{966D2DB3-DAAD-4330-AA64-A531D2A51937}" type="presOf" srcId="{96C43588-EB0D-4E33-AC99-C27C99EC4AD3}" destId="{3F220836-1F43-419E-B7C0-A70DF7DF3085}" srcOrd="0" destOrd="0" presId="urn:microsoft.com/office/officeart/2018/2/layout/IconVerticalSolidList"/>
    <dgm:cxn modelId="{BEEC4AC5-146E-47D5-9202-B2CFF21F34A2}" srcId="{5E3E1BFD-C3DE-4077-896F-1F67E740E3DA}" destId="{88F236D8-02DC-48B0-819B-7D0BFEB5E1E5}" srcOrd="1" destOrd="0" parTransId="{9650731E-18C5-4DDE-862A-62E5BD34E9FA}" sibTransId="{25B96D18-051C-4188-B603-B912161D295E}"/>
    <dgm:cxn modelId="{715F81D7-E3FA-4430-A465-3ABD02D22A55}" srcId="{5E3E1BFD-C3DE-4077-896F-1F67E740E3DA}" destId="{96C43588-EB0D-4E33-AC99-C27C99EC4AD3}" srcOrd="0" destOrd="0" parTransId="{6A132A93-EF0E-43D5-8B26-95653F6A87F6}" sibTransId="{FC88240E-7867-48E4-B4A8-F9AFEC0B63F8}"/>
    <dgm:cxn modelId="{A77684E2-762D-4205-B7E5-B588CCC6C8AE}" type="presOf" srcId="{5C275F45-C5CE-4866-9E73-11357C26DE59}" destId="{E256BEE4-BDBF-48EC-A411-788D5C619491}" srcOrd="0" destOrd="0" presId="urn:microsoft.com/office/officeart/2018/2/layout/IconVerticalSolidList"/>
    <dgm:cxn modelId="{9A9425E5-6B0A-4286-AA17-6FC6BB61E8D3}" type="presOf" srcId="{88F236D8-02DC-48B0-819B-7D0BFEB5E1E5}" destId="{54526B59-6A2F-492E-ABF2-BFAAD6A6AC1F}" srcOrd="0" destOrd="0" presId="urn:microsoft.com/office/officeart/2018/2/layout/IconVerticalSolidList"/>
    <dgm:cxn modelId="{FA3377F6-1EE5-43F1-B932-C4A3CB97070C}" srcId="{5E3E1BFD-C3DE-4077-896F-1F67E740E3DA}" destId="{5C275F45-C5CE-4866-9E73-11357C26DE59}" srcOrd="4" destOrd="0" parTransId="{39BDBA0A-2446-4D89-B362-1B5BF07A2531}" sibTransId="{8EF40144-6C5A-49E9-88CF-525A9219320D}"/>
    <dgm:cxn modelId="{9506AA1B-F7F8-4846-96F7-BD3503C221B1}" type="presParOf" srcId="{69B10777-A8E0-4B90-8D22-CBD150DDF420}" destId="{ABD462C4-77AE-410A-9D4D-A511E7DB8289}" srcOrd="0" destOrd="0" presId="urn:microsoft.com/office/officeart/2018/2/layout/IconVerticalSolidList"/>
    <dgm:cxn modelId="{6828F357-AEAE-40B0-A79A-3B3C8348A722}" type="presParOf" srcId="{ABD462C4-77AE-410A-9D4D-A511E7DB8289}" destId="{98F8AA9E-1A97-4A93-B783-2494838E4AB9}" srcOrd="0" destOrd="0" presId="urn:microsoft.com/office/officeart/2018/2/layout/IconVerticalSolidList"/>
    <dgm:cxn modelId="{D5459BE5-3CC5-4C45-A844-B12676FC0868}" type="presParOf" srcId="{ABD462C4-77AE-410A-9D4D-A511E7DB8289}" destId="{F6A93692-3A02-498B-B009-2E1E404EE69B}" srcOrd="1" destOrd="0" presId="urn:microsoft.com/office/officeart/2018/2/layout/IconVerticalSolidList"/>
    <dgm:cxn modelId="{392BA338-0970-418E-9A7A-3CB7C95F1209}" type="presParOf" srcId="{ABD462C4-77AE-410A-9D4D-A511E7DB8289}" destId="{4371FA43-1F12-45C7-A84B-5D9C5C21A32D}" srcOrd="2" destOrd="0" presId="urn:microsoft.com/office/officeart/2018/2/layout/IconVerticalSolidList"/>
    <dgm:cxn modelId="{1F4897DF-AAE8-4D5D-99FF-8B65ED5DE991}" type="presParOf" srcId="{ABD462C4-77AE-410A-9D4D-A511E7DB8289}" destId="{3F220836-1F43-419E-B7C0-A70DF7DF3085}" srcOrd="3" destOrd="0" presId="urn:microsoft.com/office/officeart/2018/2/layout/IconVerticalSolidList"/>
    <dgm:cxn modelId="{E0CC4550-F949-4BA7-B0C2-79E026E3537E}" type="presParOf" srcId="{69B10777-A8E0-4B90-8D22-CBD150DDF420}" destId="{EA38B33A-24E9-4E7E-B440-0CE0C7853A4C}" srcOrd="1" destOrd="0" presId="urn:microsoft.com/office/officeart/2018/2/layout/IconVerticalSolidList"/>
    <dgm:cxn modelId="{72D6318F-4666-4F13-8066-32BF3056525C}" type="presParOf" srcId="{69B10777-A8E0-4B90-8D22-CBD150DDF420}" destId="{6CD1BB1A-FCDB-48FC-89A8-B830D602CC6E}" srcOrd="2" destOrd="0" presId="urn:microsoft.com/office/officeart/2018/2/layout/IconVerticalSolidList"/>
    <dgm:cxn modelId="{7A1EC638-3E50-4D8F-B3FB-B85BFCDC3485}" type="presParOf" srcId="{6CD1BB1A-FCDB-48FC-89A8-B830D602CC6E}" destId="{33CA625F-9F51-48EB-94F1-BFE84A98A5FC}" srcOrd="0" destOrd="0" presId="urn:microsoft.com/office/officeart/2018/2/layout/IconVerticalSolidList"/>
    <dgm:cxn modelId="{26A61C19-D211-4BE9-A878-93F4E47473B9}" type="presParOf" srcId="{6CD1BB1A-FCDB-48FC-89A8-B830D602CC6E}" destId="{107E4D9A-DE53-492E-A53A-2BAA710E2117}" srcOrd="1" destOrd="0" presId="urn:microsoft.com/office/officeart/2018/2/layout/IconVerticalSolidList"/>
    <dgm:cxn modelId="{4B70AFAF-E9E2-44B7-A7E8-1A18F1A99C85}" type="presParOf" srcId="{6CD1BB1A-FCDB-48FC-89A8-B830D602CC6E}" destId="{E262964C-CC31-4A36-B043-A07451095332}" srcOrd="2" destOrd="0" presId="urn:microsoft.com/office/officeart/2018/2/layout/IconVerticalSolidList"/>
    <dgm:cxn modelId="{BB2EF554-AABC-4D5C-88AA-255AD1958EEB}" type="presParOf" srcId="{6CD1BB1A-FCDB-48FC-89A8-B830D602CC6E}" destId="{54526B59-6A2F-492E-ABF2-BFAAD6A6AC1F}" srcOrd="3" destOrd="0" presId="urn:microsoft.com/office/officeart/2018/2/layout/IconVerticalSolidList"/>
    <dgm:cxn modelId="{89B6E96A-7819-4B8D-9016-EB4DABA6A5E7}" type="presParOf" srcId="{69B10777-A8E0-4B90-8D22-CBD150DDF420}" destId="{89F90DA1-DAA4-4D1F-9F3C-AE68A5C9C96A}" srcOrd="3" destOrd="0" presId="urn:microsoft.com/office/officeart/2018/2/layout/IconVerticalSolidList"/>
    <dgm:cxn modelId="{E5762E7E-2D91-4454-8B27-0D5CEA10850E}" type="presParOf" srcId="{69B10777-A8E0-4B90-8D22-CBD150DDF420}" destId="{3E6F63B7-1811-47F8-B888-6BCA2A3DFDD4}" srcOrd="4" destOrd="0" presId="urn:microsoft.com/office/officeart/2018/2/layout/IconVerticalSolidList"/>
    <dgm:cxn modelId="{EE63955D-D959-4547-8630-FF390135FCA4}" type="presParOf" srcId="{3E6F63B7-1811-47F8-B888-6BCA2A3DFDD4}" destId="{985C680F-F63B-442F-B42E-405458B6B051}" srcOrd="0" destOrd="0" presId="urn:microsoft.com/office/officeart/2018/2/layout/IconVerticalSolidList"/>
    <dgm:cxn modelId="{E141F320-7985-4C19-8103-2CFD2DF5D370}" type="presParOf" srcId="{3E6F63B7-1811-47F8-B888-6BCA2A3DFDD4}" destId="{F98AB81D-CE0F-4224-9FDA-A321A2D3F2F2}" srcOrd="1" destOrd="0" presId="urn:microsoft.com/office/officeart/2018/2/layout/IconVerticalSolidList"/>
    <dgm:cxn modelId="{E38A7682-84D0-4AD0-986F-211631CC3B86}" type="presParOf" srcId="{3E6F63B7-1811-47F8-B888-6BCA2A3DFDD4}" destId="{C0CBE4FE-C68B-40B3-9F42-3E3A783733BD}" srcOrd="2" destOrd="0" presId="urn:microsoft.com/office/officeart/2018/2/layout/IconVerticalSolidList"/>
    <dgm:cxn modelId="{E290B23A-BD6A-4921-A7EB-40C463BD10B9}" type="presParOf" srcId="{3E6F63B7-1811-47F8-B888-6BCA2A3DFDD4}" destId="{7F5D6FC9-A498-490B-8EEA-DD03E75B02B4}" srcOrd="3" destOrd="0" presId="urn:microsoft.com/office/officeart/2018/2/layout/IconVerticalSolidList"/>
    <dgm:cxn modelId="{F3599989-C4B2-43F8-B130-08A57FBDD64D}" type="presParOf" srcId="{69B10777-A8E0-4B90-8D22-CBD150DDF420}" destId="{76BE3544-E25F-4AA0-92A2-9EEF93DB647C}" srcOrd="5" destOrd="0" presId="urn:microsoft.com/office/officeart/2018/2/layout/IconVerticalSolidList"/>
    <dgm:cxn modelId="{AC309C64-1DE3-425C-81E2-436AC9D60F1D}" type="presParOf" srcId="{69B10777-A8E0-4B90-8D22-CBD150DDF420}" destId="{BD24D7EE-1048-42D0-8165-BED9A326A58D}" srcOrd="6" destOrd="0" presId="urn:microsoft.com/office/officeart/2018/2/layout/IconVerticalSolidList"/>
    <dgm:cxn modelId="{C63A3E9A-66EC-4D6A-B795-EFBDB72C98FD}" type="presParOf" srcId="{BD24D7EE-1048-42D0-8165-BED9A326A58D}" destId="{1A19ECF8-CBD6-4FE1-9D04-6533D0829CF1}" srcOrd="0" destOrd="0" presId="urn:microsoft.com/office/officeart/2018/2/layout/IconVerticalSolidList"/>
    <dgm:cxn modelId="{F654841F-8290-4827-979E-E5176CDF7175}" type="presParOf" srcId="{BD24D7EE-1048-42D0-8165-BED9A326A58D}" destId="{AD1B493F-87D0-4837-B64B-013774CFE420}" srcOrd="1" destOrd="0" presId="urn:microsoft.com/office/officeart/2018/2/layout/IconVerticalSolidList"/>
    <dgm:cxn modelId="{7C58E7E6-4225-4A71-BF13-636B0BD6CA32}" type="presParOf" srcId="{BD24D7EE-1048-42D0-8165-BED9A326A58D}" destId="{41B3FE16-AF7F-40F9-BEB2-DD6D20708266}" srcOrd="2" destOrd="0" presId="urn:microsoft.com/office/officeart/2018/2/layout/IconVerticalSolidList"/>
    <dgm:cxn modelId="{A7234538-87E7-4718-8BCA-4282D5329BBD}" type="presParOf" srcId="{BD24D7EE-1048-42D0-8165-BED9A326A58D}" destId="{963E21F2-1A0A-4854-AE98-AA75ED596E46}" srcOrd="3" destOrd="0" presId="urn:microsoft.com/office/officeart/2018/2/layout/IconVerticalSolidList"/>
    <dgm:cxn modelId="{6E2D0CE4-D890-44A7-B459-BF39CD5B8B37}" type="presParOf" srcId="{69B10777-A8E0-4B90-8D22-CBD150DDF420}" destId="{3CC9964E-3236-4FB1-AAA1-244868CC5954}" srcOrd="7" destOrd="0" presId="urn:microsoft.com/office/officeart/2018/2/layout/IconVerticalSolidList"/>
    <dgm:cxn modelId="{06C65C16-1A3C-4032-A4EB-E4D60BE84102}" type="presParOf" srcId="{69B10777-A8E0-4B90-8D22-CBD150DDF420}" destId="{9EEC62EB-FC4F-4A1E-88AD-75E48E988429}" srcOrd="8" destOrd="0" presId="urn:microsoft.com/office/officeart/2018/2/layout/IconVerticalSolidList"/>
    <dgm:cxn modelId="{1F5DBC98-D2B6-4F60-B9F9-026C18D8FE0C}" type="presParOf" srcId="{9EEC62EB-FC4F-4A1E-88AD-75E48E988429}" destId="{C28EFDA9-2416-4C66-AD11-6E66EEBCA2EC}" srcOrd="0" destOrd="0" presId="urn:microsoft.com/office/officeart/2018/2/layout/IconVerticalSolidList"/>
    <dgm:cxn modelId="{4F1903DD-7FFC-4295-837B-4E7B331B212E}" type="presParOf" srcId="{9EEC62EB-FC4F-4A1E-88AD-75E48E988429}" destId="{84005666-14B7-489C-9A4D-C5FDF0F0754C}" srcOrd="1" destOrd="0" presId="urn:microsoft.com/office/officeart/2018/2/layout/IconVerticalSolidList"/>
    <dgm:cxn modelId="{01729FC0-408B-48CD-A9DB-C9B2505DDAEF}" type="presParOf" srcId="{9EEC62EB-FC4F-4A1E-88AD-75E48E988429}" destId="{DBE19A71-E7F0-4ED9-904A-B4A130DE919A}" srcOrd="2" destOrd="0" presId="urn:microsoft.com/office/officeart/2018/2/layout/IconVerticalSolidList"/>
    <dgm:cxn modelId="{2AE5C865-06BD-4183-8E67-684E407C57A8}" type="presParOf" srcId="{9EEC62EB-FC4F-4A1E-88AD-75E48E988429}" destId="{E256BEE4-BDBF-48EC-A411-788D5C61949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F799EE5-05CD-48C1-B31D-91E21FE52B0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2E7CA4F-757F-49E2-AED2-C7AA5720E086}">
      <dgm:prSet custT="1"/>
      <dgm:spPr/>
      <dgm:t>
        <a:bodyPr/>
        <a:lstStyle/>
        <a:p>
          <a:r>
            <a:rPr lang="en-US" sz="2400" b="1" baseline="0"/>
            <a:t>Add a file to staging area:</a:t>
          </a:r>
          <a:r>
            <a:rPr lang="en-US" sz="2400" baseline="0"/>
            <a:t> </a:t>
          </a:r>
          <a:r>
            <a:rPr lang="en-US" sz="2400" i="1" baseline="0"/>
            <a:t>git add &lt;filename&gt;</a:t>
          </a:r>
          <a:endParaRPr lang="en-US" sz="2400"/>
        </a:p>
      </dgm:t>
    </dgm:pt>
    <dgm:pt modelId="{103CADA3-3FAA-468C-80AA-FD09D83D87E4}" type="parTrans" cxnId="{A2C60E01-E9DD-497E-B6D0-CBDB2D19AD17}">
      <dgm:prSet/>
      <dgm:spPr/>
      <dgm:t>
        <a:bodyPr/>
        <a:lstStyle/>
        <a:p>
          <a:endParaRPr lang="en-US" sz="2400"/>
        </a:p>
      </dgm:t>
    </dgm:pt>
    <dgm:pt modelId="{9D997DA6-E85C-41BC-86B5-2573359999EE}" type="sibTrans" cxnId="{A2C60E01-E9DD-497E-B6D0-CBDB2D19AD17}">
      <dgm:prSet/>
      <dgm:spPr/>
      <dgm:t>
        <a:bodyPr/>
        <a:lstStyle/>
        <a:p>
          <a:endParaRPr lang="en-US" sz="2400"/>
        </a:p>
      </dgm:t>
    </dgm:pt>
    <dgm:pt modelId="{84122683-1526-4805-9B28-A15DD9B9F12B}">
      <dgm:prSet custT="1"/>
      <dgm:spPr/>
      <dgm:t>
        <a:bodyPr/>
        <a:lstStyle/>
        <a:p>
          <a:r>
            <a:rPr lang="en-US" sz="2400" b="1" baseline="0"/>
            <a:t>Add all files to staging area:</a:t>
          </a:r>
          <a:r>
            <a:rPr lang="en-US" sz="2400" baseline="0"/>
            <a:t> </a:t>
          </a:r>
          <a:r>
            <a:rPr lang="en-US" sz="2400" i="1" baseline="0"/>
            <a:t>git add .</a:t>
          </a:r>
          <a:endParaRPr lang="en-US" sz="2400"/>
        </a:p>
      </dgm:t>
    </dgm:pt>
    <dgm:pt modelId="{A6A44037-1DD1-40E5-ACAB-F6D3E1B115A9}" type="parTrans" cxnId="{42047605-7715-4BEC-AD2B-6CB3FE6FAFF6}">
      <dgm:prSet/>
      <dgm:spPr/>
      <dgm:t>
        <a:bodyPr/>
        <a:lstStyle/>
        <a:p>
          <a:endParaRPr lang="en-US" sz="2400"/>
        </a:p>
      </dgm:t>
    </dgm:pt>
    <dgm:pt modelId="{0AC2AB4B-757B-40B0-B85B-3682B7944E70}" type="sibTrans" cxnId="{42047605-7715-4BEC-AD2B-6CB3FE6FAFF6}">
      <dgm:prSet/>
      <dgm:spPr/>
      <dgm:t>
        <a:bodyPr/>
        <a:lstStyle/>
        <a:p>
          <a:endParaRPr lang="en-US" sz="2400"/>
        </a:p>
      </dgm:t>
    </dgm:pt>
    <dgm:pt modelId="{B63A0CB2-EFDB-4864-8CD7-71B76B2F85D2}">
      <dgm:prSet custT="1"/>
      <dgm:spPr/>
      <dgm:t>
        <a:bodyPr/>
        <a:lstStyle/>
        <a:p>
          <a:r>
            <a:rPr lang="en-US" sz="2400" b="1" i="0" baseline="0"/>
            <a:t>View what is staged</a:t>
          </a:r>
          <a:r>
            <a:rPr lang="en-US" sz="2400" i="0" baseline="0"/>
            <a:t>: </a:t>
          </a:r>
          <a:r>
            <a:rPr lang="en-US" sz="2400" i="1" baseline="0"/>
            <a:t>git status</a:t>
          </a:r>
          <a:endParaRPr lang="en-US" sz="2400"/>
        </a:p>
      </dgm:t>
    </dgm:pt>
    <dgm:pt modelId="{AD4979B5-290D-474C-BD62-455161B6B213}" type="parTrans" cxnId="{6218267E-9F71-46A4-B9B3-8E7B5C40C580}">
      <dgm:prSet/>
      <dgm:spPr/>
      <dgm:t>
        <a:bodyPr/>
        <a:lstStyle/>
        <a:p>
          <a:endParaRPr lang="en-US" sz="2400"/>
        </a:p>
      </dgm:t>
    </dgm:pt>
    <dgm:pt modelId="{24C72869-03CF-42F5-AE8C-4E85FF7E8C2C}" type="sibTrans" cxnId="{6218267E-9F71-46A4-B9B3-8E7B5C40C580}">
      <dgm:prSet/>
      <dgm:spPr/>
      <dgm:t>
        <a:bodyPr/>
        <a:lstStyle/>
        <a:p>
          <a:endParaRPr lang="en-US" sz="2400"/>
        </a:p>
      </dgm:t>
    </dgm:pt>
    <dgm:pt modelId="{674929CD-F167-4033-9596-48E7DCE069EC}" type="pres">
      <dgm:prSet presAssocID="{7F799EE5-05CD-48C1-B31D-91E21FE52B03}" presName="vert0" presStyleCnt="0">
        <dgm:presLayoutVars>
          <dgm:dir/>
          <dgm:animOne val="branch"/>
          <dgm:animLvl val="lvl"/>
        </dgm:presLayoutVars>
      </dgm:prSet>
      <dgm:spPr/>
    </dgm:pt>
    <dgm:pt modelId="{63BBFA84-6DB1-4413-9E17-5487BA698315}" type="pres">
      <dgm:prSet presAssocID="{F2E7CA4F-757F-49E2-AED2-C7AA5720E086}" presName="thickLine" presStyleLbl="alignNode1" presStyleIdx="0" presStyleCnt="3"/>
      <dgm:spPr/>
    </dgm:pt>
    <dgm:pt modelId="{0CFB1FEB-0340-4C1D-9E5A-C629DE285073}" type="pres">
      <dgm:prSet presAssocID="{F2E7CA4F-757F-49E2-AED2-C7AA5720E086}" presName="horz1" presStyleCnt="0"/>
      <dgm:spPr/>
    </dgm:pt>
    <dgm:pt modelId="{81B62B66-DC89-42CA-83DC-47DD29CC0FE0}" type="pres">
      <dgm:prSet presAssocID="{F2E7CA4F-757F-49E2-AED2-C7AA5720E086}" presName="tx1" presStyleLbl="revTx" presStyleIdx="0" presStyleCnt="3"/>
      <dgm:spPr/>
    </dgm:pt>
    <dgm:pt modelId="{0CB551F2-408C-4225-B3D5-586274227892}" type="pres">
      <dgm:prSet presAssocID="{F2E7CA4F-757F-49E2-AED2-C7AA5720E086}" presName="vert1" presStyleCnt="0"/>
      <dgm:spPr/>
    </dgm:pt>
    <dgm:pt modelId="{28BF1F6B-E199-43B4-BBF8-672D1726226A}" type="pres">
      <dgm:prSet presAssocID="{84122683-1526-4805-9B28-A15DD9B9F12B}" presName="thickLine" presStyleLbl="alignNode1" presStyleIdx="1" presStyleCnt="3"/>
      <dgm:spPr/>
    </dgm:pt>
    <dgm:pt modelId="{A7950518-E1A1-45C2-B7FA-050C72EE7F27}" type="pres">
      <dgm:prSet presAssocID="{84122683-1526-4805-9B28-A15DD9B9F12B}" presName="horz1" presStyleCnt="0"/>
      <dgm:spPr/>
    </dgm:pt>
    <dgm:pt modelId="{99E8757C-939A-4D89-B1B9-DC3BA22AD730}" type="pres">
      <dgm:prSet presAssocID="{84122683-1526-4805-9B28-A15DD9B9F12B}" presName="tx1" presStyleLbl="revTx" presStyleIdx="1" presStyleCnt="3"/>
      <dgm:spPr/>
    </dgm:pt>
    <dgm:pt modelId="{2A9A8212-2043-4B2B-8C64-D66B216970EE}" type="pres">
      <dgm:prSet presAssocID="{84122683-1526-4805-9B28-A15DD9B9F12B}" presName="vert1" presStyleCnt="0"/>
      <dgm:spPr/>
    </dgm:pt>
    <dgm:pt modelId="{C2B2A15E-ADAE-49F6-BD82-C2B8DC675BC9}" type="pres">
      <dgm:prSet presAssocID="{B63A0CB2-EFDB-4864-8CD7-71B76B2F85D2}" presName="thickLine" presStyleLbl="alignNode1" presStyleIdx="2" presStyleCnt="3"/>
      <dgm:spPr/>
    </dgm:pt>
    <dgm:pt modelId="{AE71463A-C5D0-477B-A9E0-0FD172EA56F1}" type="pres">
      <dgm:prSet presAssocID="{B63A0CB2-EFDB-4864-8CD7-71B76B2F85D2}" presName="horz1" presStyleCnt="0"/>
      <dgm:spPr/>
    </dgm:pt>
    <dgm:pt modelId="{7D28F2FC-704B-4665-BC29-6F0C03B14839}" type="pres">
      <dgm:prSet presAssocID="{B63A0CB2-EFDB-4864-8CD7-71B76B2F85D2}" presName="tx1" presStyleLbl="revTx" presStyleIdx="2" presStyleCnt="3"/>
      <dgm:spPr/>
    </dgm:pt>
    <dgm:pt modelId="{D4534A32-05F3-4CEE-A8F2-C64E19537F62}" type="pres">
      <dgm:prSet presAssocID="{B63A0CB2-EFDB-4864-8CD7-71B76B2F85D2}" presName="vert1" presStyleCnt="0"/>
      <dgm:spPr/>
    </dgm:pt>
  </dgm:ptLst>
  <dgm:cxnLst>
    <dgm:cxn modelId="{A2C60E01-E9DD-497E-B6D0-CBDB2D19AD17}" srcId="{7F799EE5-05CD-48C1-B31D-91E21FE52B03}" destId="{F2E7CA4F-757F-49E2-AED2-C7AA5720E086}" srcOrd="0" destOrd="0" parTransId="{103CADA3-3FAA-468C-80AA-FD09D83D87E4}" sibTransId="{9D997DA6-E85C-41BC-86B5-2573359999EE}"/>
    <dgm:cxn modelId="{42047605-7715-4BEC-AD2B-6CB3FE6FAFF6}" srcId="{7F799EE5-05CD-48C1-B31D-91E21FE52B03}" destId="{84122683-1526-4805-9B28-A15DD9B9F12B}" srcOrd="1" destOrd="0" parTransId="{A6A44037-1DD1-40E5-ACAB-F6D3E1B115A9}" sibTransId="{0AC2AB4B-757B-40B0-B85B-3682B7944E70}"/>
    <dgm:cxn modelId="{40988C13-9ADB-4581-B3B8-213B193040CA}" type="presOf" srcId="{84122683-1526-4805-9B28-A15DD9B9F12B}" destId="{99E8757C-939A-4D89-B1B9-DC3BA22AD730}" srcOrd="0" destOrd="0" presId="urn:microsoft.com/office/officeart/2008/layout/LinedList"/>
    <dgm:cxn modelId="{5281C71B-5363-4E22-80BF-9FC99EDDE1EE}" type="presOf" srcId="{7F799EE5-05CD-48C1-B31D-91E21FE52B03}" destId="{674929CD-F167-4033-9596-48E7DCE069EC}" srcOrd="0" destOrd="0" presId="urn:microsoft.com/office/officeart/2008/layout/LinedList"/>
    <dgm:cxn modelId="{6EFD8B5D-AC25-4A86-BFEB-8281B49E6C42}" type="presOf" srcId="{F2E7CA4F-757F-49E2-AED2-C7AA5720E086}" destId="{81B62B66-DC89-42CA-83DC-47DD29CC0FE0}" srcOrd="0" destOrd="0" presId="urn:microsoft.com/office/officeart/2008/layout/LinedList"/>
    <dgm:cxn modelId="{6218267E-9F71-46A4-B9B3-8E7B5C40C580}" srcId="{7F799EE5-05CD-48C1-B31D-91E21FE52B03}" destId="{B63A0CB2-EFDB-4864-8CD7-71B76B2F85D2}" srcOrd="2" destOrd="0" parTransId="{AD4979B5-290D-474C-BD62-455161B6B213}" sibTransId="{24C72869-03CF-42F5-AE8C-4E85FF7E8C2C}"/>
    <dgm:cxn modelId="{E33A3186-CEB2-4EEE-8196-862DE121ACD7}" type="presOf" srcId="{B63A0CB2-EFDB-4864-8CD7-71B76B2F85D2}" destId="{7D28F2FC-704B-4665-BC29-6F0C03B14839}" srcOrd="0" destOrd="0" presId="urn:microsoft.com/office/officeart/2008/layout/LinedList"/>
    <dgm:cxn modelId="{097861CF-2A43-4730-AA31-5A21C4110141}" type="presParOf" srcId="{674929CD-F167-4033-9596-48E7DCE069EC}" destId="{63BBFA84-6DB1-4413-9E17-5487BA698315}" srcOrd="0" destOrd="0" presId="urn:microsoft.com/office/officeart/2008/layout/LinedList"/>
    <dgm:cxn modelId="{7181D665-DA83-4AA1-A5F1-31247153A59D}" type="presParOf" srcId="{674929CD-F167-4033-9596-48E7DCE069EC}" destId="{0CFB1FEB-0340-4C1D-9E5A-C629DE285073}" srcOrd="1" destOrd="0" presId="urn:microsoft.com/office/officeart/2008/layout/LinedList"/>
    <dgm:cxn modelId="{A6137B4E-3778-4ACD-A94D-56E054F65F51}" type="presParOf" srcId="{0CFB1FEB-0340-4C1D-9E5A-C629DE285073}" destId="{81B62B66-DC89-42CA-83DC-47DD29CC0FE0}" srcOrd="0" destOrd="0" presId="urn:microsoft.com/office/officeart/2008/layout/LinedList"/>
    <dgm:cxn modelId="{27F29862-4F71-41DB-B4D8-16440EDBE5E9}" type="presParOf" srcId="{0CFB1FEB-0340-4C1D-9E5A-C629DE285073}" destId="{0CB551F2-408C-4225-B3D5-586274227892}" srcOrd="1" destOrd="0" presId="urn:microsoft.com/office/officeart/2008/layout/LinedList"/>
    <dgm:cxn modelId="{8CDCE6C2-D5D0-4057-BB62-98AD241D9ED9}" type="presParOf" srcId="{674929CD-F167-4033-9596-48E7DCE069EC}" destId="{28BF1F6B-E199-43B4-BBF8-672D1726226A}" srcOrd="2" destOrd="0" presId="urn:microsoft.com/office/officeart/2008/layout/LinedList"/>
    <dgm:cxn modelId="{384338C7-096B-4035-A731-0704A727BAD3}" type="presParOf" srcId="{674929CD-F167-4033-9596-48E7DCE069EC}" destId="{A7950518-E1A1-45C2-B7FA-050C72EE7F27}" srcOrd="3" destOrd="0" presId="urn:microsoft.com/office/officeart/2008/layout/LinedList"/>
    <dgm:cxn modelId="{59C18EDE-A5A1-48DD-8226-6ECB4787F9B3}" type="presParOf" srcId="{A7950518-E1A1-45C2-B7FA-050C72EE7F27}" destId="{99E8757C-939A-4D89-B1B9-DC3BA22AD730}" srcOrd="0" destOrd="0" presId="urn:microsoft.com/office/officeart/2008/layout/LinedList"/>
    <dgm:cxn modelId="{3C0E8FEC-0393-4F9D-8DAA-C432BE520DE7}" type="presParOf" srcId="{A7950518-E1A1-45C2-B7FA-050C72EE7F27}" destId="{2A9A8212-2043-4B2B-8C64-D66B216970EE}" srcOrd="1" destOrd="0" presId="urn:microsoft.com/office/officeart/2008/layout/LinedList"/>
    <dgm:cxn modelId="{91B07779-E8DD-4D86-9FAC-048436B8D69C}" type="presParOf" srcId="{674929CD-F167-4033-9596-48E7DCE069EC}" destId="{C2B2A15E-ADAE-49F6-BD82-C2B8DC675BC9}" srcOrd="4" destOrd="0" presId="urn:microsoft.com/office/officeart/2008/layout/LinedList"/>
    <dgm:cxn modelId="{5366D743-4B90-4BFD-84A4-99385A4D0C61}" type="presParOf" srcId="{674929CD-F167-4033-9596-48E7DCE069EC}" destId="{AE71463A-C5D0-477B-A9E0-0FD172EA56F1}" srcOrd="5" destOrd="0" presId="urn:microsoft.com/office/officeart/2008/layout/LinedList"/>
    <dgm:cxn modelId="{2FB990FE-ADAF-48A0-A66A-A4739CEF902A}" type="presParOf" srcId="{AE71463A-C5D0-477B-A9E0-0FD172EA56F1}" destId="{7D28F2FC-704B-4665-BC29-6F0C03B14839}" srcOrd="0" destOrd="0" presId="urn:microsoft.com/office/officeart/2008/layout/LinedList"/>
    <dgm:cxn modelId="{150564E7-DB54-4444-AEB8-8D3C7FE223A4}" type="presParOf" srcId="{AE71463A-C5D0-477B-A9E0-0FD172EA56F1}" destId="{D4534A32-05F3-4CEE-A8F2-C64E19537F62}"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FE59596-8922-4CE9-9CD3-B020CAC7EFA5}" type="doc">
      <dgm:prSet loTypeId="urn:microsoft.com/office/officeart/2008/layout/AlternatingPictureBlocks" loCatId="list" qsTypeId="urn:microsoft.com/office/officeart/2005/8/quickstyle/simple1" qsCatId="simple" csTypeId="urn:microsoft.com/office/officeart/2005/8/colors/accent1_1" csCatId="accent1" phldr="1"/>
      <dgm:spPr/>
      <dgm:t>
        <a:bodyPr/>
        <a:lstStyle/>
        <a:p>
          <a:endParaRPr lang="en-US"/>
        </a:p>
      </dgm:t>
    </dgm:pt>
    <dgm:pt modelId="{DC286070-4623-4202-BE25-E8F14B84A2F7}">
      <dgm:prSet custT="1"/>
      <dgm:spPr/>
      <dgm:t>
        <a:bodyPr/>
        <a:lstStyle/>
        <a:p>
          <a:r>
            <a:rPr lang="en-US" sz="2400" b="1" baseline="0"/>
            <a:t>Snapshots</a:t>
          </a:r>
          <a:r>
            <a:rPr lang="en-US" sz="2400" baseline="0"/>
            <a:t> repository with </a:t>
          </a:r>
          <a:r>
            <a:rPr lang="en-US" sz="2400" b="1" baseline="0"/>
            <a:t>staged</a:t>
          </a:r>
          <a:r>
            <a:rPr lang="en-US" sz="2400" baseline="0"/>
            <a:t> changes</a:t>
          </a:r>
          <a:endParaRPr lang="en-US" sz="2400"/>
        </a:p>
      </dgm:t>
    </dgm:pt>
    <dgm:pt modelId="{196C9CF4-AC7A-4DAC-A5F1-66EF19515399}" type="parTrans" cxnId="{A0E255F1-7C08-4420-9BFA-1BE08009F463}">
      <dgm:prSet/>
      <dgm:spPr/>
      <dgm:t>
        <a:bodyPr/>
        <a:lstStyle/>
        <a:p>
          <a:endParaRPr lang="en-US" sz="2400"/>
        </a:p>
      </dgm:t>
    </dgm:pt>
    <dgm:pt modelId="{23EF4952-5BC0-4E3A-BAA5-B4BE3538F173}" type="sibTrans" cxnId="{A0E255F1-7C08-4420-9BFA-1BE08009F463}">
      <dgm:prSet/>
      <dgm:spPr/>
      <dgm:t>
        <a:bodyPr/>
        <a:lstStyle/>
        <a:p>
          <a:endParaRPr lang="en-US" sz="2400"/>
        </a:p>
      </dgm:t>
    </dgm:pt>
    <dgm:pt modelId="{1BD6A197-A175-45CB-B551-642772A62CD1}">
      <dgm:prSet custT="1"/>
      <dgm:spPr/>
      <dgm:t>
        <a:bodyPr/>
        <a:lstStyle/>
        <a:p>
          <a:r>
            <a:rPr lang="en-US" sz="2400" b="1" baseline="0"/>
            <a:t>Logs</a:t>
          </a:r>
          <a:r>
            <a:rPr lang="en-US" sz="2400" baseline="0"/>
            <a:t> </a:t>
          </a:r>
          <a:r>
            <a:rPr lang="en-US" sz="2400" b="1" baseline="0"/>
            <a:t>email</a:t>
          </a:r>
          <a:r>
            <a:rPr lang="en-US" sz="2400" baseline="0"/>
            <a:t> address and </a:t>
          </a:r>
          <a:r>
            <a:rPr lang="en-US" sz="2400" b="1" baseline="0"/>
            <a:t>username</a:t>
          </a:r>
          <a:r>
            <a:rPr lang="en-US" sz="2400" baseline="0"/>
            <a:t> if it is remote repository</a:t>
          </a:r>
          <a:endParaRPr lang="en-US" sz="2400"/>
        </a:p>
      </dgm:t>
    </dgm:pt>
    <dgm:pt modelId="{C493A6E7-988D-424E-BFEA-54B43F4E06D8}" type="parTrans" cxnId="{A9D56D6F-C871-455F-908D-3891DEFF3A43}">
      <dgm:prSet/>
      <dgm:spPr/>
      <dgm:t>
        <a:bodyPr/>
        <a:lstStyle/>
        <a:p>
          <a:endParaRPr lang="en-US" sz="2400"/>
        </a:p>
      </dgm:t>
    </dgm:pt>
    <dgm:pt modelId="{892EA183-4198-4AEA-80AB-39855E1466FA}" type="sibTrans" cxnId="{A9D56D6F-C871-455F-908D-3891DEFF3A43}">
      <dgm:prSet/>
      <dgm:spPr/>
      <dgm:t>
        <a:bodyPr/>
        <a:lstStyle/>
        <a:p>
          <a:endParaRPr lang="en-US" sz="2400"/>
        </a:p>
      </dgm:t>
    </dgm:pt>
    <dgm:pt modelId="{9B1689C5-1C5C-4BE2-B50C-4715DEA74C0B}">
      <dgm:prSet custT="1"/>
      <dgm:spPr/>
      <dgm:t>
        <a:bodyPr/>
        <a:lstStyle/>
        <a:p>
          <a:r>
            <a:rPr lang="en-US" sz="2400" baseline="0"/>
            <a:t>Contains </a:t>
          </a:r>
          <a:r>
            <a:rPr lang="en-US" sz="2400" b="1" baseline="0"/>
            <a:t>message</a:t>
          </a:r>
          <a:r>
            <a:rPr lang="en-US" sz="2400" baseline="0"/>
            <a:t> describing changes</a:t>
          </a:r>
          <a:endParaRPr lang="en-US" sz="2400"/>
        </a:p>
      </dgm:t>
    </dgm:pt>
    <dgm:pt modelId="{5429CC2E-8BB9-47A9-BA67-D1CA7469D78D}" type="parTrans" cxnId="{12998819-5DED-4DEC-897B-0BCA5B6DF3D3}">
      <dgm:prSet/>
      <dgm:spPr/>
      <dgm:t>
        <a:bodyPr/>
        <a:lstStyle/>
        <a:p>
          <a:endParaRPr lang="en-US" sz="2400"/>
        </a:p>
      </dgm:t>
    </dgm:pt>
    <dgm:pt modelId="{DCE4A8BD-20B2-4C35-8AAC-C2676E2D6131}" type="sibTrans" cxnId="{12998819-5DED-4DEC-897B-0BCA5B6DF3D3}">
      <dgm:prSet/>
      <dgm:spPr/>
      <dgm:t>
        <a:bodyPr/>
        <a:lstStyle/>
        <a:p>
          <a:endParaRPr lang="en-US" sz="2400"/>
        </a:p>
      </dgm:t>
    </dgm:pt>
    <dgm:pt modelId="{386F62EF-5094-4D42-801C-E47F06D3E4BC}">
      <dgm:prSet custT="1"/>
      <dgm:spPr/>
      <dgm:t>
        <a:bodyPr/>
        <a:lstStyle/>
        <a:p>
          <a:r>
            <a:rPr lang="en-US" sz="2400" baseline="0"/>
            <a:t>Commit has </a:t>
          </a:r>
          <a:r>
            <a:rPr lang="en-US" sz="2400" b="1" baseline="0"/>
            <a:t>unique</a:t>
          </a:r>
          <a:r>
            <a:rPr lang="en-US" sz="2400" baseline="0"/>
            <a:t> hash which is used as </a:t>
          </a:r>
          <a:r>
            <a:rPr lang="en-US" sz="2400" b="1" baseline="0"/>
            <a:t>reference</a:t>
          </a:r>
          <a:endParaRPr lang="en-US" sz="2400" b="1"/>
        </a:p>
      </dgm:t>
    </dgm:pt>
    <dgm:pt modelId="{3364E3C9-0536-42E5-9876-8D033AA0B09C}" type="parTrans" cxnId="{46C4E1B3-6307-4F00-A591-7F0CFAF49789}">
      <dgm:prSet/>
      <dgm:spPr/>
      <dgm:t>
        <a:bodyPr/>
        <a:lstStyle/>
        <a:p>
          <a:endParaRPr lang="en-US" sz="2400"/>
        </a:p>
      </dgm:t>
    </dgm:pt>
    <dgm:pt modelId="{4FE409AD-6FAA-4BA5-8568-1D4B47FD821F}" type="sibTrans" cxnId="{46C4E1B3-6307-4F00-A591-7F0CFAF49789}">
      <dgm:prSet/>
      <dgm:spPr/>
      <dgm:t>
        <a:bodyPr/>
        <a:lstStyle/>
        <a:p>
          <a:endParaRPr lang="en-US" sz="2400"/>
        </a:p>
      </dgm:t>
    </dgm:pt>
    <dgm:pt modelId="{B34FB877-3B33-4FDB-A067-52E4CB53CF87}" type="pres">
      <dgm:prSet presAssocID="{4FE59596-8922-4CE9-9CD3-B020CAC7EFA5}" presName="linearFlow" presStyleCnt="0">
        <dgm:presLayoutVars>
          <dgm:dir/>
          <dgm:resizeHandles val="exact"/>
        </dgm:presLayoutVars>
      </dgm:prSet>
      <dgm:spPr/>
    </dgm:pt>
    <dgm:pt modelId="{63F1AF92-058A-4A45-8425-7662335957F2}" type="pres">
      <dgm:prSet presAssocID="{DC286070-4623-4202-BE25-E8F14B84A2F7}" presName="comp" presStyleCnt="0"/>
      <dgm:spPr/>
    </dgm:pt>
    <dgm:pt modelId="{D5408A16-24BF-4108-BCFC-3CC1B05345C3}" type="pres">
      <dgm:prSet presAssocID="{DC286070-4623-4202-BE25-E8F14B84A2F7}" presName="rect2" presStyleLbl="node1" presStyleIdx="0" presStyleCnt="4">
        <dgm:presLayoutVars>
          <dgm:bulletEnabled val="1"/>
        </dgm:presLayoutVars>
      </dgm:prSet>
      <dgm:spPr/>
    </dgm:pt>
    <dgm:pt modelId="{4E3E247C-E72D-482D-B5FF-257ADCE6A9A0}" type="pres">
      <dgm:prSet presAssocID="{DC286070-4623-4202-BE25-E8F14B84A2F7}" presName="rect1" presStyleLbl="lnNode1" presStyleIdx="0" presStyleCnt="4"/>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500" b="500"/>
          </a:stretch>
        </a:blipFill>
        <a:ln>
          <a:noFill/>
        </a:ln>
      </dgm:spPr>
      <dgm:extLst>
        <a:ext uri="{E40237B7-FDA0-4F09-8148-C483321AD2D9}">
          <dgm14:cNvPr xmlns:dgm14="http://schemas.microsoft.com/office/drawing/2010/diagram" id="0" name="" descr="Camera with solid fill"/>
        </a:ext>
      </dgm:extLst>
    </dgm:pt>
    <dgm:pt modelId="{E23E2AC2-3B30-4B0F-B79F-229D5C868425}" type="pres">
      <dgm:prSet presAssocID="{23EF4952-5BC0-4E3A-BAA5-B4BE3538F173}" presName="sibTrans" presStyleCnt="0"/>
      <dgm:spPr/>
    </dgm:pt>
    <dgm:pt modelId="{AC318385-829B-48F3-B38C-F7A0D001EBA8}" type="pres">
      <dgm:prSet presAssocID="{1BD6A197-A175-45CB-B551-642772A62CD1}" presName="comp" presStyleCnt="0"/>
      <dgm:spPr/>
    </dgm:pt>
    <dgm:pt modelId="{62C3752C-EEDB-4003-BCF1-969D75057812}" type="pres">
      <dgm:prSet presAssocID="{1BD6A197-A175-45CB-B551-642772A62CD1}" presName="rect2" presStyleLbl="node1" presStyleIdx="1" presStyleCnt="4">
        <dgm:presLayoutVars>
          <dgm:bulletEnabled val="1"/>
        </dgm:presLayoutVars>
      </dgm:prSet>
      <dgm:spPr/>
    </dgm:pt>
    <dgm:pt modelId="{397B3F75-6222-4F9C-96F2-635AC95ED91D}" type="pres">
      <dgm:prSet presAssocID="{1BD6A197-A175-45CB-B551-642772A62CD1}" presName="rect1" presStyleLbl="lnNode1" presStyleIdx="1" presStyleCnt="4"/>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00" b="500"/>
          </a:stretch>
        </a:blipFill>
        <a:ln>
          <a:noFill/>
        </a:ln>
      </dgm:spPr>
      <dgm:extLst>
        <a:ext uri="{E40237B7-FDA0-4F09-8148-C483321AD2D9}">
          <dgm14:cNvPr xmlns:dgm14="http://schemas.microsoft.com/office/drawing/2010/diagram" id="0" name="" descr="Syncing cloud with solid fill"/>
        </a:ext>
      </dgm:extLst>
    </dgm:pt>
    <dgm:pt modelId="{108C79C5-3155-4FA2-BD8E-E677103C5439}" type="pres">
      <dgm:prSet presAssocID="{892EA183-4198-4AEA-80AB-39855E1466FA}" presName="sibTrans" presStyleCnt="0"/>
      <dgm:spPr/>
    </dgm:pt>
    <dgm:pt modelId="{91EB193E-4D24-4348-B06D-B40951DA128B}" type="pres">
      <dgm:prSet presAssocID="{9B1689C5-1C5C-4BE2-B50C-4715DEA74C0B}" presName="comp" presStyleCnt="0"/>
      <dgm:spPr/>
    </dgm:pt>
    <dgm:pt modelId="{87BDA2F4-9694-4DAA-8968-83159AD9F9CB}" type="pres">
      <dgm:prSet presAssocID="{9B1689C5-1C5C-4BE2-B50C-4715DEA74C0B}" presName="rect2" presStyleLbl="node1" presStyleIdx="2" presStyleCnt="4">
        <dgm:presLayoutVars>
          <dgm:bulletEnabled val="1"/>
        </dgm:presLayoutVars>
      </dgm:prSet>
      <dgm:spPr/>
    </dgm:pt>
    <dgm:pt modelId="{33FF5D9C-6ECD-4383-9EDD-F5A095C3C6AB}" type="pres">
      <dgm:prSet presAssocID="{9B1689C5-1C5C-4BE2-B50C-4715DEA74C0B}" presName="rect1" presStyleLbl="lnNode1" presStyleIdx="2" presStyleCnt="4"/>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500" b="500"/>
          </a:stretch>
        </a:blipFill>
        <a:ln>
          <a:noFill/>
        </a:ln>
      </dgm:spPr>
      <dgm:extLst>
        <a:ext uri="{E40237B7-FDA0-4F09-8148-C483321AD2D9}">
          <dgm14:cNvPr xmlns:dgm14="http://schemas.microsoft.com/office/drawing/2010/diagram" id="0" name="" descr="Chat bubble with solid fill"/>
        </a:ext>
      </dgm:extLst>
    </dgm:pt>
    <dgm:pt modelId="{BEF011BC-2239-4560-BB4E-981B0BCDA5EE}" type="pres">
      <dgm:prSet presAssocID="{DCE4A8BD-20B2-4C35-8AAC-C2676E2D6131}" presName="sibTrans" presStyleCnt="0"/>
      <dgm:spPr/>
    </dgm:pt>
    <dgm:pt modelId="{D627EBCD-B8D0-49E2-9EF6-2D0B99068DDA}" type="pres">
      <dgm:prSet presAssocID="{386F62EF-5094-4D42-801C-E47F06D3E4BC}" presName="comp" presStyleCnt="0"/>
      <dgm:spPr/>
    </dgm:pt>
    <dgm:pt modelId="{6687E2D3-8CC7-4E0F-9911-CFBD7CB3D0E7}" type="pres">
      <dgm:prSet presAssocID="{386F62EF-5094-4D42-801C-E47F06D3E4BC}" presName="rect2" presStyleLbl="node1" presStyleIdx="3" presStyleCnt="4">
        <dgm:presLayoutVars>
          <dgm:bulletEnabled val="1"/>
        </dgm:presLayoutVars>
      </dgm:prSet>
      <dgm:spPr/>
    </dgm:pt>
    <dgm:pt modelId="{B790A01B-2217-42FF-9E31-A57B1ED50A81}" type="pres">
      <dgm:prSet presAssocID="{386F62EF-5094-4D42-801C-E47F06D3E4BC}" presName="rect1" presStyleLbl="lnNode1" presStyleIdx="3" presStyleCnt="4"/>
      <dgm:spPr>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500" b="500"/>
          </a:stretch>
        </a:blipFill>
        <a:ln>
          <a:noFill/>
        </a:ln>
      </dgm:spPr>
      <dgm:extLst>
        <a:ext uri="{E40237B7-FDA0-4F09-8148-C483321AD2D9}">
          <dgm14:cNvPr xmlns:dgm14="http://schemas.microsoft.com/office/drawing/2010/diagram" id="0" name="" descr="Search Inventory with solid fill"/>
        </a:ext>
      </dgm:extLst>
    </dgm:pt>
  </dgm:ptLst>
  <dgm:cxnLst>
    <dgm:cxn modelId="{12998819-5DED-4DEC-897B-0BCA5B6DF3D3}" srcId="{4FE59596-8922-4CE9-9CD3-B020CAC7EFA5}" destId="{9B1689C5-1C5C-4BE2-B50C-4715DEA74C0B}" srcOrd="2" destOrd="0" parTransId="{5429CC2E-8BB9-47A9-BA67-D1CA7469D78D}" sibTransId="{DCE4A8BD-20B2-4C35-8AAC-C2676E2D6131}"/>
    <dgm:cxn modelId="{0000EF42-499A-4091-8CA6-D90E3B78DEBC}" type="presOf" srcId="{4FE59596-8922-4CE9-9CD3-B020CAC7EFA5}" destId="{B34FB877-3B33-4FDB-A067-52E4CB53CF87}" srcOrd="0" destOrd="0" presId="urn:microsoft.com/office/officeart/2008/layout/AlternatingPictureBlocks"/>
    <dgm:cxn modelId="{7E3C046C-0362-446B-B514-54C99C1F0D8F}" type="presOf" srcId="{1BD6A197-A175-45CB-B551-642772A62CD1}" destId="{62C3752C-EEDB-4003-BCF1-969D75057812}" srcOrd="0" destOrd="0" presId="urn:microsoft.com/office/officeart/2008/layout/AlternatingPictureBlocks"/>
    <dgm:cxn modelId="{A9D56D6F-C871-455F-908D-3891DEFF3A43}" srcId="{4FE59596-8922-4CE9-9CD3-B020CAC7EFA5}" destId="{1BD6A197-A175-45CB-B551-642772A62CD1}" srcOrd="1" destOrd="0" parTransId="{C493A6E7-988D-424E-BFEA-54B43F4E06D8}" sibTransId="{892EA183-4198-4AEA-80AB-39855E1466FA}"/>
    <dgm:cxn modelId="{148D7B7F-9CBD-450C-85FD-A6C2C1DB12FB}" type="presOf" srcId="{DC286070-4623-4202-BE25-E8F14B84A2F7}" destId="{D5408A16-24BF-4108-BCFC-3CC1B05345C3}" srcOrd="0" destOrd="0" presId="urn:microsoft.com/office/officeart/2008/layout/AlternatingPictureBlocks"/>
    <dgm:cxn modelId="{BD7E0EA1-9D0F-423E-8963-1BDA3F6FCC0F}" type="presOf" srcId="{9B1689C5-1C5C-4BE2-B50C-4715DEA74C0B}" destId="{87BDA2F4-9694-4DAA-8968-83159AD9F9CB}" srcOrd="0" destOrd="0" presId="urn:microsoft.com/office/officeart/2008/layout/AlternatingPictureBlocks"/>
    <dgm:cxn modelId="{46C4E1B3-6307-4F00-A591-7F0CFAF49789}" srcId="{4FE59596-8922-4CE9-9CD3-B020CAC7EFA5}" destId="{386F62EF-5094-4D42-801C-E47F06D3E4BC}" srcOrd="3" destOrd="0" parTransId="{3364E3C9-0536-42E5-9876-8D033AA0B09C}" sibTransId="{4FE409AD-6FAA-4BA5-8568-1D4B47FD821F}"/>
    <dgm:cxn modelId="{9FFD9BB7-386B-4CC8-9FF9-09941F015E76}" type="presOf" srcId="{386F62EF-5094-4D42-801C-E47F06D3E4BC}" destId="{6687E2D3-8CC7-4E0F-9911-CFBD7CB3D0E7}" srcOrd="0" destOrd="0" presId="urn:microsoft.com/office/officeart/2008/layout/AlternatingPictureBlocks"/>
    <dgm:cxn modelId="{A0E255F1-7C08-4420-9BFA-1BE08009F463}" srcId="{4FE59596-8922-4CE9-9CD3-B020CAC7EFA5}" destId="{DC286070-4623-4202-BE25-E8F14B84A2F7}" srcOrd="0" destOrd="0" parTransId="{196C9CF4-AC7A-4DAC-A5F1-66EF19515399}" sibTransId="{23EF4952-5BC0-4E3A-BAA5-B4BE3538F173}"/>
    <dgm:cxn modelId="{0B932ACA-117D-4F20-B544-8A821DA91254}" type="presParOf" srcId="{B34FB877-3B33-4FDB-A067-52E4CB53CF87}" destId="{63F1AF92-058A-4A45-8425-7662335957F2}" srcOrd="0" destOrd="0" presId="urn:microsoft.com/office/officeart/2008/layout/AlternatingPictureBlocks"/>
    <dgm:cxn modelId="{AA41BA6F-F2AB-4C0E-B814-862D47A00AB7}" type="presParOf" srcId="{63F1AF92-058A-4A45-8425-7662335957F2}" destId="{D5408A16-24BF-4108-BCFC-3CC1B05345C3}" srcOrd="0" destOrd="0" presId="urn:microsoft.com/office/officeart/2008/layout/AlternatingPictureBlocks"/>
    <dgm:cxn modelId="{F9C420AA-143E-472D-B686-DAC11E66FA7F}" type="presParOf" srcId="{63F1AF92-058A-4A45-8425-7662335957F2}" destId="{4E3E247C-E72D-482D-B5FF-257ADCE6A9A0}" srcOrd="1" destOrd="0" presId="urn:microsoft.com/office/officeart/2008/layout/AlternatingPictureBlocks"/>
    <dgm:cxn modelId="{263CBB66-EEF7-47C8-B2B7-D0D28023CD77}" type="presParOf" srcId="{B34FB877-3B33-4FDB-A067-52E4CB53CF87}" destId="{E23E2AC2-3B30-4B0F-B79F-229D5C868425}" srcOrd="1" destOrd="0" presId="urn:microsoft.com/office/officeart/2008/layout/AlternatingPictureBlocks"/>
    <dgm:cxn modelId="{7F641150-E3FA-401E-97F8-9873C371EE48}" type="presParOf" srcId="{B34FB877-3B33-4FDB-A067-52E4CB53CF87}" destId="{AC318385-829B-48F3-B38C-F7A0D001EBA8}" srcOrd="2" destOrd="0" presId="urn:microsoft.com/office/officeart/2008/layout/AlternatingPictureBlocks"/>
    <dgm:cxn modelId="{0288FD70-A352-48D8-8E7A-2B760B98B13D}" type="presParOf" srcId="{AC318385-829B-48F3-B38C-F7A0D001EBA8}" destId="{62C3752C-EEDB-4003-BCF1-969D75057812}" srcOrd="0" destOrd="0" presId="urn:microsoft.com/office/officeart/2008/layout/AlternatingPictureBlocks"/>
    <dgm:cxn modelId="{44AD9DC3-C1CA-440F-A5E1-75E5D9E35F7F}" type="presParOf" srcId="{AC318385-829B-48F3-B38C-F7A0D001EBA8}" destId="{397B3F75-6222-4F9C-96F2-635AC95ED91D}" srcOrd="1" destOrd="0" presId="urn:microsoft.com/office/officeart/2008/layout/AlternatingPictureBlocks"/>
    <dgm:cxn modelId="{FFC95DAB-A903-4293-83E7-79C1F6994C3D}" type="presParOf" srcId="{B34FB877-3B33-4FDB-A067-52E4CB53CF87}" destId="{108C79C5-3155-4FA2-BD8E-E677103C5439}" srcOrd="3" destOrd="0" presId="urn:microsoft.com/office/officeart/2008/layout/AlternatingPictureBlocks"/>
    <dgm:cxn modelId="{08678384-F089-4A67-8EE8-59C7B5F798D6}" type="presParOf" srcId="{B34FB877-3B33-4FDB-A067-52E4CB53CF87}" destId="{91EB193E-4D24-4348-B06D-B40951DA128B}" srcOrd="4" destOrd="0" presId="urn:microsoft.com/office/officeart/2008/layout/AlternatingPictureBlocks"/>
    <dgm:cxn modelId="{7DC83FFD-3006-4191-81BF-1B67C50B8915}" type="presParOf" srcId="{91EB193E-4D24-4348-B06D-B40951DA128B}" destId="{87BDA2F4-9694-4DAA-8968-83159AD9F9CB}" srcOrd="0" destOrd="0" presId="urn:microsoft.com/office/officeart/2008/layout/AlternatingPictureBlocks"/>
    <dgm:cxn modelId="{813BF29F-AD12-497A-AB64-8B1DD6DA9DA9}" type="presParOf" srcId="{91EB193E-4D24-4348-B06D-B40951DA128B}" destId="{33FF5D9C-6ECD-4383-9EDD-F5A095C3C6AB}" srcOrd="1" destOrd="0" presId="urn:microsoft.com/office/officeart/2008/layout/AlternatingPictureBlocks"/>
    <dgm:cxn modelId="{52DFB72D-8045-479D-BF6E-B18AFEC28ACD}" type="presParOf" srcId="{B34FB877-3B33-4FDB-A067-52E4CB53CF87}" destId="{BEF011BC-2239-4560-BB4E-981B0BCDA5EE}" srcOrd="5" destOrd="0" presId="urn:microsoft.com/office/officeart/2008/layout/AlternatingPictureBlocks"/>
    <dgm:cxn modelId="{7E597AE3-7784-4E79-8CA8-75CFB4708881}" type="presParOf" srcId="{B34FB877-3B33-4FDB-A067-52E4CB53CF87}" destId="{D627EBCD-B8D0-49E2-9EF6-2D0B99068DDA}" srcOrd="6" destOrd="0" presId="urn:microsoft.com/office/officeart/2008/layout/AlternatingPictureBlocks"/>
    <dgm:cxn modelId="{37E0952D-698C-40F9-B3FC-70C6098010FB}" type="presParOf" srcId="{D627EBCD-B8D0-49E2-9EF6-2D0B99068DDA}" destId="{6687E2D3-8CC7-4E0F-9911-CFBD7CB3D0E7}" srcOrd="0" destOrd="0" presId="urn:microsoft.com/office/officeart/2008/layout/AlternatingPictureBlocks"/>
    <dgm:cxn modelId="{DDC6A7AC-8F53-4175-B0F3-48FC9EBD088C}" type="presParOf" srcId="{D627EBCD-B8D0-49E2-9EF6-2D0B99068DDA}" destId="{B790A01B-2217-42FF-9E31-A57B1ED50A81}" srcOrd="1" destOrd="0" presId="urn:microsoft.com/office/officeart/2008/layout/AlternatingPictureBlock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1CC6D0B-D88D-4F09-BF1B-E939C16ACD9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899434D3-3060-4EAD-8DD8-D08E52ABF1A5}">
      <dgm:prSet custT="1"/>
      <dgm:spPr/>
      <dgm:t>
        <a:bodyPr/>
        <a:lstStyle/>
        <a:p>
          <a:r>
            <a:rPr lang="en-US" sz="2400" baseline="0"/>
            <a:t>Command line: </a:t>
          </a:r>
          <a:r>
            <a:rPr lang="en-AU" sz="2400">
              <a:solidFill>
                <a:schemeClr val="accent3">
                  <a:lumMod val="60000"/>
                  <a:lumOff val="40000"/>
                </a:schemeClr>
              </a:solidFill>
              <a:latin typeface="Lucida Console"/>
            </a:rPr>
            <a:t>git log</a:t>
          </a:r>
          <a:endParaRPr lang="en-US" sz="2400">
            <a:solidFill>
              <a:schemeClr val="accent3">
                <a:lumMod val="60000"/>
                <a:lumOff val="40000"/>
              </a:schemeClr>
            </a:solidFill>
          </a:endParaRPr>
        </a:p>
      </dgm:t>
    </dgm:pt>
    <dgm:pt modelId="{E7B90F7E-7CD1-4434-91D8-A71C6BC1666B}" type="parTrans" cxnId="{28755167-BD23-4B80-A735-4F6646571E5A}">
      <dgm:prSet/>
      <dgm:spPr/>
      <dgm:t>
        <a:bodyPr/>
        <a:lstStyle/>
        <a:p>
          <a:endParaRPr lang="en-US"/>
        </a:p>
      </dgm:t>
    </dgm:pt>
    <dgm:pt modelId="{5D1D3680-9DE3-4B8D-9E2F-3C4A11ECB2B4}" type="sibTrans" cxnId="{28755167-BD23-4B80-A735-4F6646571E5A}">
      <dgm:prSet/>
      <dgm:spPr/>
      <dgm:t>
        <a:bodyPr/>
        <a:lstStyle/>
        <a:p>
          <a:endParaRPr lang="en-US"/>
        </a:p>
      </dgm:t>
    </dgm:pt>
    <dgm:pt modelId="{A61FA8FF-9045-448F-9CAB-539EAB2736A4}">
      <dgm:prSet custT="1"/>
      <dgm:spPr/>
      <dgm:t>
        <a:bodyPr/>
        <a:lstStyle/>
        <a:p>
          <a:r>
            <a:rPr lang="en-US" sz="2400" baseline="0"/>
            <a:t>Built-in GUI: </a:t>
          </a:r>
          <a:r>
            <a:rPr lang="en-AU" sz="2400" err="1">
              <a:solidFill>
                <a:schemeClr val="accent3">
                  <a:lumMod val="60000"/>
                  <a:lumOff val="40000"/>
                </a:schemeClr>
              </a:solidFill>
              <a:latin typeface="Lucida Console"/>
            </a:rPr>
            <a:t>gitk</a:t>
          </a:r>
          <a:endParaRPr lang="en-US" sz="2400">
            <a:solidFill>
              <a:schemeClr val="accent3">
                <a:lumMod val="60000"/>
                <a:lumOff val="40000"/>
              </a:schemeClr>
            </a:solidFill>
          </a:endParaRPr>
        </a:p>
      </dgm:t>
    </dgm:pt>
    <dgm:pt modelId="{6951109B-E38C-494B-912D-CE32E336D1AB}" type="parTrans" cxnId="{826CFAAE-78DF-40CA-87B1-D516DBF75631}">
      <dgm:prSet/>
      <dgm:spPr/>
      <dgm:t>
        <a:bodyPr/>
        <a:lstStyle/>
        <a:p>
          <a:endParaRPr lang="en-US"/>
        </a:p>
      </dgm:t>
    </dgm:pt>
    <dgm:pt modelId="{92D6F6E8-8480-4A0B-B693-6826F1B30D48}" type="sibTrans" cxnId="{826CFAAE-78DF-40CA-87B1-D516DBF75631}">
      <dgm:prSet/>
      <dgm:spPr/>
      <dgm:t>
        <a:bodyPr/>
        <a:lstStyle/>
        <a:p>
          <a:endParaRPr lang="en-US"/>
        </a:p>
      </dgm:t>
    </dgm:pt>
    <dgm:pt modelId="{D28FDE8E-403A-493E-A49E-C6564E33F484}">
      <dgm:prSet custT="1"/>
      <dgm:spPr/>
      <dgm:t>
        <a:bodyPr/>
        <a:lstStyle/>
        <a:p>
          <a:r>
            <a:rPr lang="en-US" sz="2400" baseline="0"/>
            <a:t>GitHub</a:t>
          </a:r>
          <a:endParaRPr lang="en-US" sz="2400"/>
        </a:p>
      </dgm:t>
    </dgm:pt>
    <dgm:pt modelId="{9FADE85D-1391-48DC-B089-5B7D730D730F}" type="parTrans" cxnId="{09E88693-167D-4C76-9D0F-341FEC49FC33}">
      <dgm:prSet/>
      <dgm:spPr/>
      <dgm:t>
        <a:bodyPr/>
        <a:lstStyle/>
        <a:p>
          <a:endParaRPr lang="en-US"/>
        </a:p>
      </dgm:t>
    </dgm:pt>
    <dgm:pt modelId="{5DBDEC7D-813B-4788-97C8-1CD683785801}" type="sibTrans" cxnId="{09E88693-167D-4C76-9D0F-341FEC49FC33}">
      <dgm:prSet/>
      <dgm:spPr/>
      <dgm:t>
        <a:bodyPr/>
        <a:lstStyle/>
        <a:p>
          <a:endParaRPr lang="en-US"/>
        </a:p>
      </dgm:t>
    </dgm:pt>
    <dgm:pt modelId="{66DDE226-1F45-4FE5-A650-3988BFAA23C5}">
      <dgm:prSet custT="1"/>
      <dgm:spPr/>
      <dgm:t>
        <a:bodyPr/>
        <a:lstStyle/>
        <a:p>
          <a:r>
            <a:rPr lang="en-US" sz="2400" baseline="0"/>
            <a:t>VSCode extensions:</a:t>
          </a:r>
          <a:endParaRPr lang="en-US" sz="2400"/>
        </a:p>
      </dgm:t>
    </dgm:pt>
    <dgm:pt modelId="{BF623689-2451-4265-86EA-D86DE8E0B6D6}" type="parTrans" cxnId="{B4389DEE-FC4D-4A94-9F84-EB8D8C3D836B}">
      <dgm:prSet/>
      <dgm:spPr/>
      <dgm:t>
        <a:bodyPr/>
        <a:lstStyle/>
        <a:p>
          <a:endParaRPr lang="en-US"/>
        </a:p>
      </dgm:t>
    </dgm:pt>
    <dgm:pt modelId="{B30D01B4-CDD6-486A-906A-EDAB4B0165FC}" type="sibTrans" cxnId="{B4389DEE-FC4D-4A94-9F84-EB8D8C3D836B}">
      <dgm:prSet/>
      <dgm:spPr/>
      <dgm:t>
        <a:bodyPr/>
        <a:lstStyle/>
        <a:p>
          <a:endParaRPr lang="en-US"/>
        </a:p>
      </dgm:t>
    </dgm:pt>
    <dgm:pt modelId="{1CAE01C6-AAC1-47AA-B511-5843109ED678}">
      <dgm:prSet custT="1"/>
      <dgm:spPr/>
      <dgm:t>
        <a:bodyPr/>
        <a:lstStyle/>
        <a:p>
          <a:r>
            <a:rPr lang="en-US" sz="2400" baseline="0"/>
            <a:t>Git lens</a:t>
          </a:r>
          <a:endParaRPr lang="en-US" sz="2400"/>
        </a:p>
      </dgm:t>
    </dgm:pt>
    <dgm:pt modelId="{835754C3-88D4-44A1-A149-E9BA76D54CC6}" type="parTrans" cxnId="{12092ECF-46DE-4D02-A243-A72669588967}">
      <dgm:prSet/>
      <dgm:spPr/>
      <dgm:t>
        <a:bodyPr/>
        <a:lstStyle/>
        <a:p>
          <a:endParaRPr lang="en-US"/>
        </a:p>
      </dgm:t>
    </dgm:pt>
    <dgm:pt modelId="{E42F5805-E871-4464-99B7-D215B867A00C}" type="sibTrans" cxnId="{12092ECF-46DE-4D02-A243-A72669588967}">
      <dgm:prSet/>
      <dgm:spPr/>
      <dgm:t>
        <a:bodyPr/>
        <a:lstStyle/>
        <a:p>
          <a:endParaRPr lang="en-US"/>
        </a:p>
      </dgm:t>
    </dgm:pt>
    <dgm:pt modelId="{99950029-0A40-43FD-BB4A-2985351B4BE3}">
      <dgm:prSet custT="1"/>
      <dgm:spPr/>
      <dgm:t>
        <a:bodyPr/>
        <a:lstStyle/>
        <a:p>
          <a:r>
            <a:rPr lang="en-US" sz="2400" baseline="0"/>
            <a:t>Git file history</a:t>
          </a:r>
          <a:endParaRPr lang="en-US" sz="2400"/>
        </a:p>
      </dgm:t>
    </dgm:pt>
    <dgm:pt modelId="{BCA0A594-CB54-4DFF-8BBA-0681E2C70871}" type="parTrans" cxnId="{60A5E4E9-859A-4423-A2E3-084E3206C59C}">
      <dgm:prSet/>
      <dgm:spPr/>
      <dgm:t>
        <a:bodyPr/>
        <a:lstStyle/>
        <a:p>
          <a:endParaRPr lang="en-US"/>
        </a:p>
      </dgm:t>
    </dgm:pt>
    <dgm:pt modelId="{BCFB35F7-7B83-4CA0-9CE2-98A0A4F9D5F8}" type="sibTrans" cxnId="{60A5E4E9-859A-4423-A2E3-084E3206C59C}">
      <dgm:prSet/>
      <dgm:spPr/>
      <dgm:t>
        <a:bodyPr/>
        <a:lstStyle/>
        <a:p>
          <a:endParaRPr lang="en-US"/>
        </a:p>
      </dgm:t>
    </dgm:pt>
    <dgm:pt modelId="{303E661B-D3D2-4948-B987-AE2AE4177231}">
      <dgm:prSet custT="1"/>
      <dgm:spPr/>
      <dgm:t>
        <a:bodyPr/>
        <a:lstStyle/>
        <a:p>
          <a:r>
            <a:rPr lang="en-US" sz="2400" baseline="0"/>
            <a:t>Git graph</a:t>
          </a:r>
          <a:endParaRPr lang="en-US" sz="2400"/>
        </a:p>
      </dgm:t>
    </dgm:pt>
    <dgm:pt modelId="{B2917794-3A4A-422B-89D9-068C19152A95}" type="parTrans" cxnId="{CF15B874-2F41-4164-8773-B03F9786CF94}">
      <dgm:prSet/>
      <dgm:spPr/>
      <dgm:t>
        <a:bodyPr/>
        <a:lstStyle/>
        <a:p>
          <a:endParaRPr lang="en-US"/>
        </a:p>
      </dgm:t>
    </dgm:pt>
    <dgm:pt modelId="{36F63469-FB9F-4CD7-B2AB-33FBA3611411}" type="sibTrans" cxnId="{CF15B874-2F41-4164-8773-B03F9786CF94}">
      <dgm:prSet/>
      <dgm:spPr/>
      <dgm:t>
        <a:bodyPr/>
        <a:lstStyle/>
        <a:p>
          <a:endParaRPr lang="en-US"/>
        </a:p>
      </dgm:t>
    </dgm:pt>
    <dgm:pt modelId="{CF8B796F-EB11-4018-9041-7402F756C9AE}" type="pres">
      <dgm:prSet presAssocID="{41CC6D0B-D88D-4F09-BF1B-E939C16ACD95}" presName="linear" presStyleCnt="0">
        <dgm:presLayoutVars>
          <dgm:animLvl val="lvl"/>
          <dgm:resizeHandles val="exact"/>
        </dgm:presLayoutVars>
      </dgm:prSet>
      <dgm:spPr/>
    </dgm:pt>
    <dgm:pt modelId="{D03E6B2E-EB03-47A2-AC68-F78C50C1E0C1}" type="pres">
      <dgm:prSet presAssocID="{899434D3-3060-4EAD-8DD8-D08E52ABF1A5}" presName="parentText" presStyleLbl="node1" presStyleIdx="0" presStyleCnt="4">
        <dgm:presLayoutVars>
          <dgm:chMax val="0"/>
          <dgm:bulletEnabled val="1"/>
        </dgm:presLayoutVars>
      </dgm:prSet>
      <dgm:spPr/>
    </dgm:pt>
    <dgm:pt modelId="{32476118-7218-4D48-A247-1C27E6B3B9F0}" type="pres">
      <dgm:prSet presAssocID="{5D1D3680-9DE3-4B8D-9E2F-3C4A11ECB2B4}" presName="spacer" presStyleCnt="0"/>
      <dgm:spPr/>
    </dgm:pt>
    <dgm:pt modelId="{E987D5A2-CDD1-4FCE-9539-F29E6E086743}" type="pres">
      <dgm:prSet presAssocID="{A61FA8FF-9045-448F-9CAB-539EAB2736A4}" presName="parentText" presStyleLbl="node1" presStyleIdx="1" presStyleCnt="4">
        <dgm:presLayoutVars>
          <dgm:chMax val="0"/>
          <dgm:bulletEnabled val="1"/>
        </dgm:presLayoutVars>
      </dgm:prSet>
      <dgm:spPr/>
    </dgm:pt>
    <dgm:pt modelId="{C44E4602-BA7D-4A23-9229-DD6A1F42A2FC}" type="pres">
      <dgm:prSet presAssocID="{92D6F6E8-8480-4A0B-B693-6826F1B30D48}" presName="spacer" presStyleCnt="0"/>
      <dgm:spPr/>
    </dgm:pt>
    <dgm:pt modelId="{5891176E-19BD-4165-8150-4E6F6B170F4E}" type="pres">
      <dgm:prSet presAssocID="{D28FDE8E-403A-493E-A49E-C6564E33F484}" presName="parentText" presStyleLbl="node1" presStyleIdx="2" presStyleCnt="4">
        <dgm:presLayoutVars>
          <dgm:chMax val="0"/>
          <dgm:bulletEnabled val="1"/>
        </dgm:presLayoutVars>
      </dgm:prSet>
      <dgm:spPr/>
    </dgm:pt>
    <dgm:pt modelId="{DB6B324A-F494-4283-AB58-8F7E5F29A336}" type="pres">
      <dgm:prSet presAssocID="{5DBDEC7D-813B-4788-97C8-1CD683785801}" presName="spacer" presStyleCnt="0"/>
      <dgm:spPr/>
    </dgm:pt>
    <dgm:pt modelId="{3E3A00FC-2B41-496A-B8E1-D391B4EF2F19}" type="pres">
      <dgm:prSet presAssocID="{66DDE226-1F45-4FE5-A650-3988BFAA23C5}" presName="parentText" presStyleLbl="node1" presStyleIdx="3" presStyleCnt="4">
        <dgm:presLayoutVars>
          <dgm:chMax val="0"/>
          <dgm:bulletEnabled val="1"/>
        </dgm:presLayoutVars>
      </dgm:prSet>
      <dgm:spPr/>
    </dgm:pt>
    <dgm:pt modelId="{66D8849C-ABBC-4A69-B213-8CB0C98ACD49}" type="pres">
      <dgm:prSet presAssocID="{66DDE226-1F45-4FE5-A650-3988BFAA23C5}" presName="childText" presStyleLbl="revTx" presStyleIdx="0" presStyleCnt="1">
        <dgm:presLayoutVars>
          <dgm:bulletEnabled val="1"/>
        </dgm:presLayoutVars>
      </dgm:prSet>
      <dgm:spPr/>
    </dgm:pt>
  </dgm:ptLst>
  <dgm:cxnLst>
    <dgm:cxn modelId="{BCD1C11D-F00F-4BAA-AC5A-38584B070DDE}" type="presOf" srcId="{66DDE226-1F45-4FE5-A650-3988BFAA23C5}" destId="{3E3A00FC-2B41-496A-B8E1-D391B4EF2F19}" srcOrd="0" destOrd="0" presId="urn:microsoft.com/office/officeart/2005/8/layout/vList2"/>
    <dgm:cxn modelId="{7F73DB3C-7998-42F2-BCC3-56826560756C}" type="presOf" srcId="{99950029-0A40-43FD-BB4A-2985351B4BE3}" destId="{66D8849C-ABBC-4A69-B213-8CB0C98ACD49}" srcOrd="0" destOrd="1" presId="urn:microsoft.com/office/officeart/2005/8/layout/vList2"/>
    <dgm:cxn modelId="{28755167-BD23-4B80-A735-4F6646571E5A}" srcId="{41CC6D0B-D88D-4F09-BF1B-E939C16ACD95}" destId="{899434D3-3060-4EAD-8DD8-D08E52ABF1A5}" srcOrd="0" destOrd="0" parTransId="{E7B90F7E-7CD1-4434-91D8-A71C6BC1666B}" sibTransId="{5D1D3680-9DE3-4B8D-9E2F-3C4A11ECB2B4}"/>
    <dgm:cxn modelId="{CF15B874-2F41-4164-8773-B03F9786CF94}" srcId="{66DDE226-1F45-4FE5-A650-3988BFAA23C5}" destId="{303E661B-D3D2-4948-B987-AE2AE4177231}" srcOrd="2" destOrd="0" parTransId="{B2917794-3A4A-422B-89D9-068C19152A95}" sibTransId="{36F63469-FB9F-4CD7-B2AB-33FBA3611411}"/>
    <dgm:cxn modelId="{09E88693-167D-4C76-9D0F-341FEC49FC33}" srcId="{41CC6D0B-D88D-4F09-BF1B-E939C16ACD95}" destId="{D28FDE8E-403A-493E-A49E-C6564E33F484}" srcOrd="2" destOrd="0" parTransId="{9FADE85D-1391-48DC-B089-5B7D730D730F}" sibTransId="{5DBDEC7D-813B-4788-97C8-1CD683785801}"/>
    <dgm:cxn modelId="{4395AA96-81F5-4257-9EBF-B0F3B89833D6}" type="presOf" srcId="{1CAE01C6-AAC1-47AA-B511-5843109ED678}" destId="{66D8849C-ABBC-4A69-B213-8CB0C98ACD49}" srcOrd="0" destOrd="0" presId="urn:microsoft.com/office/officeart/2005/8/layout/vList2"/>
    <dgm:cxn modelId="{AC03789C-A148-4CCA-AC98-F8197B4283AA}" type="presOf" srcId="{D28FDE8E-403A-493E-A49E-C6564E33F484}" destId="{5891176E-19BD-4165-8150-4E6F6B170F4E}" srcOrd="0" destOrd="0" presId="urn:microsoft.com/office/officeart/2005/8/layout/vList2"/>
    <dgm:cxn modelId="{826CFAAE-78DF-40CA-87B1-D516DBF75631}" srcId="{41CC6D0B-D88D-4F09-BF1B-E939C16ACD95}" destId="{A61FA8FF-9045-448F-9CAB-539EAB2736A4}" srcOrd="1" destOrd="0" parTransId="{6951109B-E38C-494B-912D-CE32E336D1AB}" sibTransId="{92D6F6E8-8480-4A0B-B693-6826F1B30D48}"/>
    <dgm:cxn modelId="{3CE6B7B2-2B40-4BA2-A12B-174239B7A937}" type="presOf" srcId="{A61FA8FF-9045-448F-9CAB-539EAB2736A4}" destId="{E987D5A2-CDD1-4FCE-9539-F29E6E086743}" srcOrd="0" destOrd="0" presId="urn:microsoft.com/office/officeart/2005/8/layout/vList2"/>
    <dgm:cxn modelId="{12092ECF-46DE-4D02-A243-A72669588967}" srcId="{66DDE226-1F45-4FE5-A650-3988BFAA23C5}" destId="{1CAE01C6-AAC1-47AA-B511-5843109ED678}" srcOrd="0" destOrd="0" parTransId="{835754C3-88D4-44A1-A149-E9BA76D54CC6}" sibTransId="{E42F5805-E871-4464-99B7-D215B867A00C}"/>
    <dgm:cxn modelId="{6FBE73D3-34DC-4883-8633-32C5D2FA960E}" type="presOf" srcId="{899434D3-3060-4EAD-8DD8-D08E52ABF1A5}" destId="{D03E6B2E-EB03-47A2-AC68-F78C50C1E0C1}" srcOrd="0" destOrd="0" presId="urn:microsoft.com/office/officeart/2005/8/layout/vList2"/>
    <dgm:cxn modelId="{C89E93DD-7D6E-470E-81C4-3D02B1EC1E6D}" type="presOf" srcId="{303E661B-D3D2-4948-B987-AE2AE4177231}" destId="{66D8849C-ABBC-4A69-B213-8CB0C98ACD49}" srcOrd="0" destOrd="2" presId="urn:microsoft.com/office/officeart/2005/8/layout/vList2"/>
    <dgm:cxn modelId="{60A5E4E9-859A-4423-A2E3-084E3206C59C}" srcId="{66DDE226-1F45-4FE5-A650-3988BFAA23C5}" destId="{99950029-0A40-43FD-BB4A-2985351B4BE3}" srcOrd="1" destOrd="0" parTransId="{BCA0A594-CB54-4DFF-8BBA-0681E2C70871}" sibTransId="{BCFB35F7-7B83-4CA0-9CE2-98A0A4F9D5F8}"/>
    <dgm:cxn modelId="{B4389DEE-FC4D-4A94-9F84-EB8D8C3D836B}" srcId="{41CC6D0B-D88D-4F09-BF1B-E939C16ACD95}" destId="{66DDE226-1F45-4FE5-A650-3988BFAA23C5}" srcOrd="3" destOrd="0" parTransId="{BF623689-2451-4265-86EA-D86DE8E0B6D6}" sibTransId="{B30D01B4-CDD6-486A-906A-EDAB4B0165FC}"/>
    <dgm:cxn modelId="{8ECA6BF3-20EC-4BDA-A78F-DB6A1609B020}" type="presOf" srcId="{41CC6D0B-D88D-4F09-BF1B-E939C16ACD95}" destId="{CF8B796F-EB11-4018-9041-7402F756C9AE}" srcOrd="0" destOrd="0" presId="urn:microsoft.com/office/officeart/2005/8/layout/vList2"/>
    <dgm:cxn modelId="{17D9943E-2100-4876-B647-55514C701216}" type="presParOf" srcId="{CF8B796F-EB11-4018-9041-7402F756C9AE}" destId="{D03E6B2E-EB03-47A2-AC68-F78C50C1E0C1}" srcOrd="0" destOrd="0" presId="urn:microsoft.com/office/officeart/2005/8/layout/vList2"/>
    <dgm:cxn modelId="{29EE598A-10AD-42EB-B527-15275AB35175}" type="presParOf" srcId="{CF8B796F-EB11-4018-9041-7402F756C9AE}" destId="{32476118-7218-4D48-A247-1C27E6B3B9F0}" srcOrd="1" destOrd="0" presId="urn:microsoft.com/office/officeart/2005/8/layout/vList2"/>
    <dgm:cxn modelId="{2F37E796-1A14-4B8A-AB3A-DA0AFD71C5D2}" type="presParOf" srcId="{CF8B796F-EB11-4018-9041-7402F756C9AE}" destId="{E987D5A2-CDD1-4FCE-9539-F29E6E086743}" srcOrd="2" destOrd="0" presId="urn:microsoft.com/office/officeart/2005/8/layout/vList2"/>
    <dgm:cxn modelId="{786FA74F-4AB1-4896-ACD9-F53A48049D4C}" type="presParOf" srcId="{CF8B796F-EB11-4018-9041-7402F756C9AE}" destId="{C44E4602-BA7D-4A23-9229-DD6A1F42A2FC}" srcOrd="3" destOrd="0" presId="urn:microsoft.com/office/officeart/2005/8/layout/vList2"/>
    <dgm:cxn modelId="{C284A941-DF1B-4D80-A6D3-E6118BD7CB24}" type="presParOf" srcId="{CF8B796F-EB11-4018-9041-7402F756C9AE}" destId="{5891176E-19BD-4165-8150-4E6F6B170F4E}" srcOrd="4" destOrd="0" presId="urn:microsoft.com/office/officeart/2005/8/layout/vList2"/>
    <dgm:cxn modelId="{868B2D04-0869-4E96-AE27-1233FD18615A}" type="presParOf" srcId="{CF8B796F-EB11-4018-9041-7402F756C9AE}" destId="{DB6B324A-F494-4283-AB58-8F7E5F29A336}" srcOrd="5" destOrd="0" presId="urn:microsoft.com/office/officeart/2005/8/layout/vList2"/>
    <dgm:cxn modelId="{8026C2FE-DE9C-4D08-ABA7-A520BB3A0C81}" type="presParOf" srcId="{CF8B796F-EB11-4018-9041-7402F756C9AE}" destId="{3E3A00FC-2B41-496A-B8E1-D391B4EF2F19}" srcOrd="6" destOrd="0" presId="urn:microsoft.com/office/officeart/2005/8/layout/vList2"/>
    <dgm:cxn modelId="{77076B6B-FCCB-49F9-B224-DE483A50D0FE}" type="presParOf" srcId="{CF8B796F-EB11-4018-9041-7402F756C9AE}" destId="{66D8849C-ABBC-4A69-B213-8CB0C98ACD49}"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72D1803-D7B0-4689-B0B1-127CBDDA1420}"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19253B6-5758-4718-85C1-22478C5F2B86}">
      <dgm:prSet custT="1"/>
      <dgm:spPr/>
      <dgm:t>
        <a:bodyPr/>
        <a:lstStyle/>
        <a:p>
          <a:r>
            <a:rPr lang="en-US" sz="2800" baseline="0"/>
            <a:t>Extensions allow for easily browsing changes through commits</a:t>
          </a:r>
          <a:endParaRPr lang="en-US" sz="2800"/>
        </a:p>
      </dgm:t>
    </dgm:pt>
    <dgm:pt modelId="{C1E821A0-1240-4C7F-A09E-92A09E437007}" type="parTrans" cxnId="{098EE19B-7AED-439F-929E-D9C8B0832877}">
      <dgm:prSet/>
      <dgm:spPr/>
      <dgm:t>
        <a:bodyPr/>
        <a:lstStyle/>
        <a:p>
          <a:endParaRPr lang="en-US" sz="1400"/>
        </a:p>
      </dgm:t>
    </dgm:pt>
    <dgm:pt modelId="{CC08DFEF-2B84-4645-9FB6-2C9FF3D4CD80}" type="sibTrans" cxnId="{098EE19B-7AED-439F-929E-D9C8B0832877}">
      <dgm:prSet/>
      <dgm:spPr/>
      <dgm:t>
        <a:bodyPr/>
        <a:lstStyle/>
        <a:p>
          <a:endParaRPr lang="en-US" sz="1400"/>
        </a:p>
      </dgm:t>
    </dgm:pt>
    <dgm:pt modelId="{444B5998-C52C-4D23-B247-F68C9749988E}" type="pres">
      <dgm:prSet presAssocID="{B72D1803-D7B0-4689-B0B1-127CBDDA1420}" presName="vert0" presStyleCnt="0">
        <dgm:presLayoutVars>
          <dgm:dir/>
          <dgm:animOne val="branch"/>
          <dgm:animLvl val="lvl"/>
        </dgm:presLayoutVars>
      </dgm:prSet>
      <dgm:spPr/>
    </dgm:pt>
    <dgm:pt modelId="{14872F0B-F073-4043-BBEF-BC943C47A7CA}" type="pres">
      <dgm:prSet presAssocID="{119253B6-5758-4718-85C1-22478C5F2B86}" presName="thickLine" presStyleLbl="alignNode1" presStyleIdx="0" presStyleCnt="1"/>
      <dgm:spPr/>
    </dgm:pt>
    <dgm:pt modelId="{69A0E521-47DF-4C94-9997-D41B51D72E53}" type="pres">
      <dgm:prSet presAssocID="{119253B6-5758-4718-85C1-22478C5F2B86}" presName="horz1" presStyleCnt="0"/>
      <dgm:spPr/>
    </dgm:pt>
    <dgm:pt modelId="{3E64F56D-CB3C-4741-A9D5-73EF235E5E91}" type="pres">
      <dgm:prSet presAssocID="{119253B6-5758-4718-85C1-22478C5F2B86}" presName="tx1" presStyleLbl="revTx" presStyleIdx="0" presStyleCnt="1"/>
      <dgm:spPr/>
    </dgm:pt>
    <dgm:pt modelId="{4C70E891-1BCF-4210-9DB0-12017BE0EEA5}" type="pres">
      <dgm:prSet presAssocID="{119253B6-5758-4718-85C1-22478C5F2B86}" presName="vert1" presStyleCnt="0"/>
      <dgm:spPr/>
    </dgm:pt>
  </dgm:ptLst>
  <dgm:cxnLst>
    <dgm:cxn modelId="{8EDB7666-2B2D-49E2-B131-D37A3FAC0FBD}" type="presOf" srcId="{119253B6-5758-4718-85C1-22478C5F2B86}" destId="{3E64F56D-CB3C-4741-A9D5-73EF235E5E91}" srcOrd="0" destOrd="0" presId="urn:microsoft.com/office/officeart/2008/layout/LinedList"/>
    <dgm:cxn modelId="{098EE19B-7AED-439F-929E-D9C8B0832877}" srcId="{B72D1803-D7B0-4689-B0B1-127CBDDA1420}" destId="{119253B6-5758-4718-85C1-22478C5F2B86}" srcOrd="0" destOrd="0" parTransId="{C1E821A0-1240-4C7F-A09E-92A09E437007}" sibTransId="{CC08DFEF-2B84-4645-9FB6-2C9FF3D4CD80}"/>
    <dgm:cxn modelId="{CB37D3A2-4C93-4E67-8E9C-F343B7689C6B}" type="presOf" srcId="{B72D1803-D7B0-4689-B0B1-127CBDDA1420}" destId="{444B5998-C52C-4D23-B247-F68C9749988E}" srcOrd="0" destOrd="0" presId="urn:microsoft.com/office/officeart/2008/layout/LinedList"/>
    <dgm:cxn modelId="{814B94E5-E730-4CA3-AC62-57C96CC0BAF6}" type="presParOf" srcId="{444B5998-C52C-4D23-B247-F68C9749988E}" destId="{14872F0B-F073-4043-BBEF-BC943C47A7CA}" srcOrd="0" destOrd="0" presId="urn:microsoft.com/office/officeart/2008/layout/LinedList"/>
    <dgm:cxn modelId="{FDFCDA8F-CA2E-4CD0-8886-F7EED1538D81}" type="presParOf" srcId="{444B5998-C52C-4D23-B247-F68C9749988E}" destId="{69A0E521-47DF-4C94-9997-D41B51D72E53}" srcOrd="1" destOrd="0" presId="urn:microsoft.com/office/officeart/2008/layout/LinedList"/>
    <dgm:cxn modelId="{C73E009A-C093-464D-97A2-97001E27F95D}" type="presParOf" srcId="{69A0E521-47DF-4C94-9997-D41B51D72E53}" destId="{3E64F56D-CB3C-4741-A9D5-73EF235E5E91}" srcOrd="0" destOrd="0" presId="urn:microsoft.com/office/officeart/2008/layout/LinedList"/>
    <dgm:cxn modelId="{DF69A773-F3B9-4FC8-9737-92519ACC7AD6}" type="presParOf" srcId="{69A0E521-47DF-4C94-9997-D41B51D72E53}" destId="{4C70E891-1BCF-4210-9DB0-12017BE0EEA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94E8726-9974-4906-B63B-5D1A2B0D2597}">
      <dgm:prSet custT="1"/>
      <dgm:spPr/>
      <dgm:t>
        <a:bodyPr/>
        <a:lstStyle/>
        <a:p>
          <a:pPr>
            <a:lnSpc>
              <a:spcPct val="100000"/>
            </a:lnSpc>
          </a:pPr>
          <a:r>
            <a:rPr lang="en-US" sz="2400" b="1"/>
            <a:t>Central location </a:t>
          </a:r>
          <a:r>
            <a:rPr lang="en-US" sz="2400"/>
            <a:t>for main project team is working on</a:t>
          </a:r>
        </a:p>
      </dgm:t>
    </dgm:pt>
    <dgm:pt modelId="{3C1EE5E5-06A9-4E49-AF53-CEFDB4EF81F9}" type="parTrans" cxnId="{39F01202-B2FF-46A1-BD23-789AFF6456D7}">
      <dgm:prSet/>
      <dgm:spPr/>
      <dgm:t>
        <a:bodyPr/>
        <a:lstStyle/>
        <a:p>
          <a:endParaRPr lang="en-US" sz="2400"/>
        </a:p>
      </dgm:t>
    </dgm:pt>
    <dgm:pt modelId="{09D55B1F-87D4-42BE-A5DC-AEB03E88FDB0}" type="sibTrans" cxnId="{39F01202-B2FF-46A1-BD23-789AFF6456D7}">
      <dgm:prSet/>
      <dgm:spPr/>
      <dgm:t>
        <a:bodyPr/>
        <a:lstStyle/>
        <a:p>
          <a:endParaRPr lang="en-US" sz="2400"/>
        </a:p>
      </dgm:t>
    </dgm:pt>
    <dgm:pt modelId="{DF2B3F3E-7F03-4B84-99DA-0DA7F85F2708}">
      <dgm:prSet custT="1"/>
      <dgm:spPr/>
      <dgm:t>
        <a:bodyPr/>
        <a:lstStyle/>
        <a:p>
          <a:pPr>
            <a:lnSpc>
              <a:spcPct val="100000"/>
            </a:lnSpc>
          </a:pPr>
          <a:r>
            <a:rPr lang="en-US" sz="2400"/>
            <a:t>Changes are made and committed to </a:t>
          </a:r>
          <a:r>
            <a:rPr lang="en-US" sz="2400" b="1"/>
            <a:t>local</a:t>
          </a:r>
          <a:r>
            <a:rPr lang="en-US" sz="2400"/>
            <a:t> repository as normal</a:t>
          </a:r>
        </a:p>
      </dgm:t>
    </dgm:pt>
    <dgm:pt modelId="{8CDB4E75-AD0B-455D-92B4-2AF22DA692EA}" type="parTrans" cxnId="{34F962EA-3EC1-42B7-88B6-21FD8047ABE5}">
      <dgm:prSet/>
      <dgm:spPr/>
      <dgm:t>
        <a:bodyPr/>
        <a:lstStyle/>
        <a:p>
          <a:endParaRPr lang="en-US" sz="2400"/>
        </a:p>
      </dgm:t>
    </dgm:pt>
    <dgm:pt modelId="{AB2CEAB3-D48C-47DA-8C1D-9A4FD6EE8626}" type="sibTrans" cxnId="{34F962EA-3EC1-42B7-88B6-21FD8047ABE5}">
      <dgm:prSet/>
      <dgm:spPr/>
      <dgm:t>
        <a:bodyPr/>
        <a:lstStyle/>
        <a:p>
          <a:endParaRPr lang="en-US" sz="2400"/>
        </a:p>
      </dgm:t>
    </dgm:pt>
    <dgm:pt modelId="{C05F5950-B10F-470E-98F7-09B02BC7AD0A}">
      <dgm:prSet custT="1"/>
      <dgm:spPr/>
      <dgm:t>
        <a:bodyPr/>
        <a:lstStyle/>
        <a:p>
          <a:pPr>
            <a:lnSpc>
              <a:spcPct val="100000"/>
            </a:lnSpc>
          </a:pPr>
          <a:r>
            <a:rPr lang="en-US" sz="2400"/>
            <a:t>Local commits are </a:t>
          </a:r>
          <a:r>
            <a:rPr lang="en-US" sz="2400" b="1"/>
            <a:t>pushed</a:t>
          </a:r>
          <a:r>
            <a:rPr lang="en-US" sz="2400"/>
            <a:t> to remote repository</a:t>
          </a:r>
        </a:p>
      </dgm:t>
    </dgm:pt>
    <dgm:pt modelId="{5599EA6E-EEA2-4539-A5FD-A6A971668D24}" type="parTrans" cxnId="{38E47D4C-5FF7-49E8-AE1A-B66E9776AF96}">
      <dgm:prSet/>
      <dgm:spPr/>
      <dgm:t>
        <a:bodyPr/>
        <a:lstStyle/>
        <a:p>
          <a:endParaRPr lang="en-US" sz="2400"/>
        </a:p>
      </dgm:t>
    </dgm:pt>
    <dgm:pt modelId="{61C9B92A-8AC6-465B-86D3-A88F555A6831}" type="sibTrans" cxnId="{38E47D4C-5FF7-49E8-AE1A-B66E9776AF96}">
      <dgm:prSet/>
      <dgm:spPr/>
      <dgm:t>
        <a:bodyPr/>
        <a:lstStyle/>
        <a:p>
          <a:endParaRPr lang="en-US" sz="2400"/>
        </a:p>
      </dgm:t>
    </dgm:pt>
    <dgm:pt modelId="{39BAEE67-1B10-4E05-8B1A-73EBA6935F47}">
      <dgm:prSet custT="1"/>
      <dgm:spPr/>
      <dgm:t>
        <a:bodyPr/>
        <a:lstStyle/>
        <a:p>
          <a:pPr>
            <a:lnSpc>
              <a:spcPct val="100000"/>
            </a:lnSpc>
          </a:pPr>
          <a:r>
            <a:rPr lang="en-US" sz="2400"/>
            <a:t>Updates are </a:t>
          </a:r>
          <a:r>
            <a:rPr lang="en-US" sz="2400" b="1"/>
            <a:t>pulled</a:t>
          </a:r>
          <a:r>
            <a:rPr lang="en-US" sz="2400"/>
            <a:t> from remote repository to local repo</a:t>
          </a:r>
        </a:p>
      </dgm:t>
    </dgm:pt>
    <dgm:pt modelId="{94F03D8C-129E-4AE7-A196-80967425D621}" type="parTrans" cxnId="{4610196B-7F97-427F-9AC2-43765F34BF7C}">
      <dgm:prSet/>
      <dgm:spPr/>
      <dgm:t>
        <a:bodyPr/>
        <a:lstStyle/>
        <a:p>
          <a:endParaRPr lang="en-US" sz="2400"/>
        </a:p>
      </dgm:t>
    </dgm:pt>
    <dgm:pt modelId="{4EB87018-8B88-416B-A8FF-26B439D59B94}" type="sibTrans" cxnId="{4610196B-7F97-427F-9AC2-43765F34BF7C}">
      <dgm:prSet/>
      <dgm:spPr/>
      <dgm:t>
        <a:bodyPr/>
        <a:lstStyle/>
        <a:p>
          <a:endParaRPr lang="en-US" sz="2400"/>
        </a:p>
      </dgm:t>
    </dgm:pt>
    <dgm:pt modelId="{161CAEAA-2F81-4230-B4B6-D9767424B924}">
      <dgm:prSet custT="1"/>
      <dgm:spPr/>
      <dgm:t>
        <a:bodyPr/>
        <a:lstStyle/>
        <a:p>
          <a:pPr>
            <a:lnSpc>
              <a:spcPct val="100000"/>
            </a:lnSpc>
          </a:pPr>
          <a:r>
            <a:rPr lang="en-US" sz="2400" b="1"/>
            <a:t>Conflicts</a:t>
          </a:r>
          <a:r>
            <a:rPr lang="en-US" sz="2400"/>
            <a:t> occur when the same file is modified in asynchronous commits</a:t>
          </a:r>
        </a:p>
      </dgm:t>
    </dgm:pt>
    <dgm:pt modelId="{8D43C48E-2688-41BB-88A8-3B8A2EA29926}" type="parTrans" cxnId="{75850F19-4B78-45F3-8B25-E1E39CAB6DFE}">
      <dgm:prSet/>
      <dgm:spPr/>
      <dgm:t>
        <a:bodyPr/>
        <a:lstStyle/>
        <a:p>
          <a:endParaRPr lang="en-US"/>
        </a:p>
      </dgm:t>
    </dgm:pt>
    <dgm:pt modelId="{39F6FCF3-F7B3-444C-A305-D326611F02B7}" type="sibTrans" cxnId="{75850F19-4B78-45F3-8B25-E1E39CAB6DFE}">
      <dgm:prSet/>
      <dgm:spPr/>
      <dgm:t>
        <a:bodyPr/>
        <a:lstStyle/>
        <a:p>
          <a:endParaRPr lang="en-US"/>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5"/>
      <dgm:spPr/>
    </dgm:pt>
    <dgm:pt modelId="{F685725B-FCD5-46E6-854E-B057DAA3DF04}" type="pres">
      <dgm:prSet presAssocID="{194E8726-9974-4906-B63B-5D1A2B0D2597}" presName="iconRect" presStyleLbl="node1" presStyleIdx="0" presStyleCnt="5"/>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itcoin"/>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5">
        <dgm:presLayoutVars>
          <dgm:chMax val="0"/>
          <dgm:chPref val="0"/>
        </dgm:presLayoutVars>
      </dgm:prSet>
      <dgm:spPr/>
    </dgm:pt>
    <dgm:pt modelId="{977E1EDF-0B87-4DAF-94DD-1C015BBFDDD2}" type="pres">
      <dgm:prSet presAssocID="{09D55B1F-87D4-42BE-A5DC-AEB03E88FDB0}" presName="sibTrans" presStyleCnt="0"/>
      <dgm:spPr/>
    </dgm:pt>
    <dgm:pt modelId="{0BFE17E6-078F-4B11-A250-AB6D78389353}" type="pres">
      <dgm:prSet presAssocID="{DF2B3F3E-7F03-4B84-99DA-0DA7F85F2708}" presName="compNode" presStyleCnt="0"/>
      <dgm:spPr/>
    </dgm:pt>
    <dgm:pt modelId="{570C701F-BC5D-424E-B8A6-563FE998DEE5}" type="pres">
      <dgm:prSet presAssocID="{DF2B3F3E-7F03-4B84-99DA-0DA7F85F2708}" presName="bgRect" presStyleLbl="bgShp" presStyleIdx="1" presStyleCnt="5"/>
      <dgm:spPr/>
    </dgm:pt>
    <dgm:pt modelId="{2C5345BC-78B6-4F30-91B1-52EDC16191E5}" type="pres">
      <dgm:prSet presAssocID="{DF2B3F3E-7F03-4B84-99DA-0DA7F85F270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Laptop with solid fill"/>
        </a:ext>
      </dgm:extLst>
    </dgm:pt>
    <dgm:pt modelId="{C70FE6ED-8AA3-49E3-B0D3-9A2B7FB7AB6A}" type="pres">
      <dgm:prSet presAssocID="{DF2B3F3E-7F03-4B84-99DA-0DA7F85F2708}" presName="spaceRect" presStyleCnt="0"/>
      <dgm:spPr/>
    </dgm:pt>
    <dgm:pt modelId="{ECD80276-C3D3-44D3-9097-756CFF32A359}" type="pres">
      <dgm:prSet presAssocID="{DF2B3F3E-7F03-4B84-99DA-0DA7F85F2708}" presName="parTx" presStyleLbl="revTx" presStyleIdx="1" presStyleCnt="5">
        <dgm:presLayoutVars>
          <dgm:chMax val="0"/>
          <dgm:chPref val="0"/>
        </dgm:presLayoutVars>
      </dgm:prSet>
      <dgm:spPr/>
    </dgm:pt>
    <dgm:pt modelId="{9B36278F-0F65-4E1A-87B7-B96C37F00C58}" type="pres">
      <dgm:prSet presAssocID="{AB2CEAB3-D48C-47DA-8C1D-9A4FD6EE8626}" presName="sibTrans" presStyleCnt="0"/>
      <dgm:spPr/>
    </dgm:pt>
    <dgm:pt modelId="{8D40A7CD-9C0E-4FC0-AC01-B80F4261345E}" type="pres">
      <dgm:prSet presAssocID="{C05F5950-B10F-470E-98F7-09B02BC7AD0A}" presName="compNode" presStyleCnt="0"/>
      <dgm:spPr/>
    </dgm:pt>
    <dgm:pt modelId="{3A9E4B2D-0EC5-45BC-A128-CA5365779572}" type="pres">
      <dgm:prSet presAssocID="{C05F5950-B10F-470E-98F7-09B02BC7AD0A}" presName="bgRect" presStyleLbl="bgShp" presStyleIdx="2" presStyleCnt="5"/>
      <dgm:spPr/>
    </dgm:pt>
    <dgm:pt modelId="{543B55C0-A0BE-4713-9E9D-C6C5EFD3EB7A}" type="pres">
      <dgm:prSet presAssocID="{C05F5950-B10F-470E-98F7-09B02BC7AD0A}"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Arrow: Counter-clockwise curve with solid fill"/>
        </a:ext>
      </dgm:extLst>
    </dgm:pt>
    <dgm:pt modelId="{14682D77-9009-49DB-876D-825E3215F682}" type="pres">
      <dgm:prSet presAssocID="{C05F5950-B10F-470E-98F7-09B02BC7AD0A}" presName="spaceRect" presStyleCnt="0"/>
      <dgm:spPr/>
    </dgm:pt>
    <dgm:pt modelId="{03036886-D2D8-4217-B277-C9B9A9F453C8}" type="pres">
      <dgm:prSet presAssocID="{C05F5950-B10F-470E-98F7-09B02BC7AD0A}" presName="parTx" presStyleLbl="revTx" presStyleIdx="2" presStyleCnt="5">
        <dgm:presLayoutVars>
          <dgm:chMax val="0"/>
          <dgm:chPref val="0"/>
        </dgm:presLayoutVars>
      </dgm:prSet>
      <dgm:spPr/>
    </dgm:pt>
    <dgm:pt modelId="{3A3DD6A8-4A98-4D33-9C4D-131928C9E403}" type="pres">
      <dgm:prSet presAssocID="{61C9B92A-8AC6-465B-86D3-A88F555A6831}" presName="sibTrans" presStyleCnt="0"/>
      <dgm:spPr/>
    </dgm:pt>
    <dgm:pt modelId="{D0DB1BB5-0852-4A35-9FDA-BB3386E1126D}" type="pres">
      <dgm:prSet presAssocID="{39BAEE67-1B10-4E05-8B1A-73EBA6935F47}" presName="compNode" presStyleCnt="0"/>
      <dgm:spPr/>
    </dgm:pt>
    <dgm:pt modelId="{1D101B6D-0FF1-44E7-AF6D-FCFFEF9230BF}" type="pres">
      <dgm:prSet presAssocID="{39BAEE67-1B10-4E05-8B1A-73EBA6935F47}" presName="bgRect" presStyleLbl="bgShp" presStyleIdx="3" presStyleCnt="5"/>
      <dgm:spPr/>
    </dgm:pt>
    <dgm:pt modelId="{3DC655F5-250E-4DF0-87A1-24C8450BC89B}" type="pres">
      <dgm:prSet presAssocID="{39BAEE67-1B10-4E05-8B1A-73EBA6935F47}"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Arrow: Rotate left with solid fill"/>
        </a:ext>
      </dgm:extLst>
    </dgm:pt>
    <dgm:pt modelId="{061D45A2-333D-426C-A7EB-3ED9FC0E9785}" type="pres">
      <dgm:prSet presAssocID="{39BAEE67-1B10-4E05-8B1A-73EBA6935F47}" presName="spaceRect" presStyleCnt="0"/>
      <dgm:spPr/>
    </dgm:pt>
    <dgm:pt modelId="{29337B0F-556F-49CB-804F-CCCE0F54EF57}" type="pres">
      <dgm:prSet presAssocID="{39BAEE67-1B10-4E05-8B1A-73EBA6935F47}" presName="parTx" presStyleLbl="revTx" presStyleIdx="3" presStyleCnt="5">
        <dgm:presLayoutVars>
          <dgm:chMax val="0"/>
          <dgm:chPref val="0"/>
        </dgm:presLayoutVars>
      </dgm:prSet>
      <dgm:spPr/>
    </dgm:pt>
    <dgm:pt modelId="{9AA016E7-45DC-4DC6-8504-66AB68B44E6B}" type="pres">
      <dgm:prSet presAssocID="{4EB87018-8B88-416B-A8FF-26B439D59B94}" presName="sibTrans" presStyleCnt="0"/>
      <dgm:spPr/>
    </dgm:pt>
    <dgm:pt modelId="{5A9BB720-235E-42B2-B9B4-29F06C8CE68A}" type="pres">
      <dgm:prSet presAssocID="{161CAEAA-2F81-4230-B4B6-D9767424B924}" presName="compNode" presStyleCnt="0"/>
      <dgm:spPr/>
    </dgm:pt>
    <dgm:pt modelId="{EA462224-BF63-46BE-853C-A99BFB302B17}" type="pres">
      <dgm:prSet presAssocID="{161CAEAA-2F81-4230-B4B6-D9767424B924}" presName="bgRect" presStyleLbl="bgShp" presStyleIdx="4" presStyleCnt="5"/>
      <dgm:spPr/>
    </dgm:pt>
    <dgm:pt modelId="{882C85D0-1B17-4B91-B4C6-C355283A8C00}" type="pres">
      <dgm:prSet presAssocID="{161CAEAA-2F81-4230-B4B6-D9767424B924}" presName="iconRect" presStyleLbl="node1" presStyleIdx="4" presStyleCnt="5"/>
      <dgm:spPr>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onstruction Barricade with solid fill"/>
        </a:ext>
      </dgm:extLst>
    </dgm:pt>
    <dgm:pt modelId="{1CD4FE29-CE76-40AF-BFF2-B9572CD17627}" type="pres">
      <dgm:prSet presAssocID="{161CAEAA-2F81-4230-B4B6-D9767424B924}" presName="spaceRect" presStyleCnt="0"/>
      <dgm:spPr/>
    </dgm:pt>
    <dgm:pt modelId="{F397DFC5-40E5-4B5A-B168-60BAF83C910B}" type="pres">
      <dgm:prSet presAssocID="{161CAEAA-2F81-4230-B4B6-D9767424B924}" presName="parTx" presStyleLbl="revTx" presStyleIdx="4" presStyleCnt="5">
        <dgm:presLayoutVars>
          <dgm:chMax val="0"/>
          <dgm:chPref val="0"/>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09642415-5D56-46C2-872D-0C11E87AB840}" type="presOf" srcId="{194E8726-9974-4906-B63B-5D1A2B0D2597}" destId="{90365817-AC47-4315-A8D0-15DBBF0FB1DD}" srcOrd="0" destOrd="0" presId="urn:microsoft.com/office/officeart/2018/2/layout/IconVerticalSolidList"/>
    <dgm:cxn modelId="{75850F19-4B78-45F3-8B25-E1E39CAB6DFE}" srcId="{0046BC35-C90C-4C26-ADB1-3D8D2F623AC9}" destId="{161CAEAA-2F81-4230-B4B6-D9767424B924}" srcOrd="4" destOrd="0" parTransId="{8D43C48E-2688-41BB-88A8-3B8A2EA29926}" sibTransId="{39F6FCF3-F7B3-444C-A305-D326611F02B7}"/>
    <dgm:cxn modelId="{6B3EBD20-8249-4AE4-9D00-05D8F3D84139}" type="presOf" srcId="{161CAEAA-2F81-4230-B4B6-D9767424B924}" destId="{F397DFC5-40E5-4B5A-B168-60BAF83C910B}" srcOrd="0" destOrd="0" presId="urn:microsoft.com/office/officeart/2018/2/layout/IconVerticalSolidList"/>
    <dgm:cxn modelId="{F75ACD69-5029-4181-B87D-87BC57C8963E}" type="presOf" srcId="{DF2B3F3E-7F03-4B84-99DA-0DA7F85F2708}" destId="{ECD80276-C3D3-44D3-9097-756CFF32A359}" srcOrd="0" destOrd="0" presId="urn:microsoft.com/office/officeart/2018/2/layout/IconVerticalSolidList"/>
    <dgm:cxn modelId="{4610196B-7F97-427F-9AC2-43765F34BF7C}" srcId="{0046BC35-C90C-4C26-ADB1-3D8D2F623AC9}" destId="{39BAEE67-1B10-4E05-8B1A-73EBA6935F47}" srcOrd="3" destOrd="0" parTransId="{94F03D8C-129E-4AE7-A196-80967425D621}" sibTransId="{4EB87018-8B88-416B-A8FF-26B439D59B94}"/>
    <dgm:cxn modelId="{38E47D4C-5FF7-49E8-AE1A-B66E9776AF96}" srcId="{0046BC35-C90C-4C26-ADB1-3D8D2F623AC9}" destId="{C05F5950-B10F-470E-98F7-09B02BC7AD0A}" srcOrd="2" destOrd="0" parTransId="{5599EA6E-EEA2-4539-A5FD-A6A971668D24}" sibTransId="{61C9B92A-8AC6-465B-86D3-A88F555A6831}"/>
    <dgm:cxn modelId="{F9238D7B-23B8-4C7F-B3B7-447626BD9983}" type="presOf" srcId="{0046BC35-C90C-4C26-ADB1-3D8D2F623AC9}" destId="{01C25ACE-EF3C-4589-81A7-437145DABC24}" srcOrd="0" destOrd="0" presId="urn:microsoft.com/office/officeart/2018/2/layout/IconVerticalSolidList"/>
    <dgm:cxn modelId="{35C71F93-909F-4E1E-A340-35587D3D209A}" type="presOf" srcId="{C05F5950-B10F-470E-98F7-09B02BC7AD0A}" destId="{03036886-D2D8-4217-B277-C9B9A9F453C8}" srcOrd="0" destOrd="0" presId="urn:microsoft.com/office/officeart/2018/2/layout/IconVerticalSolidList"/>
    <dgm:cxn modelId="{34F962EA-3EC1-42B7-88B6-21FD8047ABE5}" srcId="{0046BC35-C90C-4C26-ADB1-3D8D2F623AC9}" destId="{DF2B3F3E-7F03-4B84-99DA-0DA7F85F2708}" srcOrd="1" destOrd="0" parTransId="{8CDB4E75-AD0B-455D-92B4-2AF22DA692EA}" sibTransId="{AB2CEAB3-D48C-47DA-8C1D-9A4FD6EE8626}"/>
    <dgm:cxn modelId="{482A7CF2-C9A1-478A-B155-17B50D2EE92E}" type="presOf" srcId="{39BAEE67-1B10-4E05-8B1A-73EBA6935F47}" destId="{29337B0F-556F-49CB-804F-CCCE0F54EF57}" srcOrd="0" destOrd="0" presId="urn:microsoft.com/office/officeart/2018/2/layout/IconVerticalSolidList"/>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2F1296BA-A5D6-4033-890D-4E4ECAC11484}" type="presParOf" srcId="{01C25ACE-EF3C-4589-81A7-437145DABC24}" destId="{977E1EDF-0B87-4DAF-94DD-1C015BBFDDD2}" srcOrd="1" destOrd="0" presId="urn:microsoft.com/office/officeart/2018/2/layout/IconVerticalSolidList"/>
    <dgm:cxn modelId="{A378F25F-7041-4203-93AA-57F5ECBDC924}" type="presParOf" srcId="{01C25ACE-EF3C-4589-81A7-437145DABC24}" destId="{0BFE17E6-078F-4B11-A250-AB6D78389353}" srcOrd="2" destOrd="0" presId="urn:microsoft.com/office/officeart/2018/2/layout/IconVerticalSolidList"/>
    <dgm:cxn modelId="{E8719A17-7688-4D51-9352-1031777AC6D7}" type="presParOf" srcId="{0BFE17E6-078F-4B11-A250-AB6D78389353}" destId="{570C701F-BC5D-424E-B8A6-563FE998DEE5}" srcOrd="0" destOrd="0" presId="urn:microsoft.com/office/officeart/2018/2/layout/IconVerticalSolidList"/>
    <dgm:cxn modelId="{B14B9F7F-DAAA-49A2-A6BE-B542032CF4EE}" type="presParOf" srcId="{0BFE17E6-078F-4B11-A250-AB6D78389353}" destId="{2C5345BC-78B6-4F30-91B1-52EDC16191E5}" srcOrd="1" destOrd="0" presId="urn:microsoft.com/office/officeart/2018/2/layout/IconVerticalSolidList"/>
    <dgm:cxn modelId="{F7539104-EBD8-4265-A97B-96C0A4AD422C}" type="presParOf" srcId="{0BFE17E6-078F-4B11-A250-AB6D78389353}" destId="{C70FE6ED-8AA3-49E3-B0D3-9A2B7FB7AB6A}" srcOrd="2" destOrd="0" presId="urn:microsoft.com/office/officeart/2018/2/layout/IconVerticalSolidList"/>
    <dgm:cxn modelId="{6AB08AE8-6DE8-4236-AD9F-03A71B9522E4}" type="presParOf" srcId="{0BFE17E6-078F-4B11-A250-AB6D78389353}" destId="{ECD80276-C3D3-44D3-9097-756CFF32A359}" srcOrd="3" destOrd="0" presId="urn:microsoft.com/office/officeart/2018/2/layout/IconVerticalSolidList"/>
    <dgm:cxn modelId="{E0DCEC1D-4FE4-4A1E-84B7-04DF7E99DB94}" type="presParOf" srcId="{01C25ACE-EF3C-4589-81A7-437145DABC24}" destId="{9B36278F-0F65-4E1A-87B7-B96C37F00C58}" srcOrd="3" destOrd="0" presId="urn:microsoft.com/office/officeart/2018/2/layout/IconVerticalSolidList"/>
    <dgm:cxn modelId="{F546B7C4-74F9-436E-8795-7D32D4539003}" type="presParOf" srcId="{01C25ACE-EF3C-4589-81A7-437145DABC24}" destId="{8D40A7CD-9C0E-4FC0-AC01-B80F4261345E}" srcOrd="4" destOrd="0" presId="urn:microsoft.com/office/officeart/2018/2/layout/IconVerticalSolidList"/>
    <dgm:cxn modelId="{0C55E1F9-C61D-4410-A73B-4D6DF56DBFC5}" type="presParOf" srcId="{8D40A7CD-9C0E-4FC0-AC01-B80F4261345E}" destId="{3A9E4B2D-0EC5-45BC-A128-CA5365779572}" srcOrd="0" destOrd="0" presId="urn:microsoft.com/office/officeart/2018/2/layout/IconVerticalSolidList"/>
    <dgm:cxn modelId="{5567B665-6B85-4102-BCCC-74BE819CA10D}" type="presParOf" srcId="{8D40A7CD-9C0E-4FC0-AC01-B80F4261345E}" destId="{543B55C0-A0BE-4713-9E9D-C6C5EFD3EB7A}" srcOrd="1" destOrd="0" presId="urn:microsoft.com/office/officeart/2018/2/layout/IconVerticalSolidList"/>
    <dgm:cxn modelId="{DF669C8A-6AA1-4AF4-A84F-6962CFF754B4}" type="presParOf" srcId="{8D40A7CD-9C0E-4FC0-AC01-B80F4261345E}" destId="{14682D77-9009-49DB-876D-825E3215F682}" srcOrd="2" destOrd="0" presId="urn:microsoft.com/office/officeart/2018/2/layout/IconVerticalSolidList"/>
    <dgm:cxn modelId="{EA215EBE-B214-4543-871A-E458D31DB0C4}" type="presParOf" srcId="{8D40A7CD-9C0E-4FC0-AC01-B80F4261345E}" destId="{03036886-D2D8-4217-B277-C9B9A9F453C8}" srcOrd="3" destOrd="0" presId="urn:microsoft.com/office/officeart/2018/2/layout/IconVerticalSolidList"/>
    <dgm:cxn modelId="{B8667F61-4556-4188-A379-05835629AB1A}" type="presParOf" srcId="{01C25ACE-EF3C-4589-81A7-437145DABC24}" destId="{3A3DD6A8-4A98-4D33-9C4D-131928C9E403}" srcOrd="5" destOrd="0" presId="urn:microsoft.com/office/officeart/2018/2/layout/IconVerticalSolidList"/>
    <dgm:cxn modelId="{0A000529-F44A-4D98-8833-58F9ED15DFDE}" type="presParOf" srcId="{01C25ACE-EF3C-4589-81A7-437145DABC24}" destId="{D0DB1BB5-0852-4A35-9FDA-BB3386E1126D}" srcOrd="6" destOrd="0" presId="urn:microsoft.com/office/officeart/2018/2/layout/IconVerticalSolidList"/>
    <dgm:cxn modelId="{12308D13-2B50-417F-AF90-73318102A19E}" type="presParOf" srcId="{D0DB1BB5-0852-4A35-9FDA-BB3386E1126D}" destId="{1D101B6D-0FF1-44E7-AF6D-FCFFEF9230BF}" srcOrd="0" destOrd="0" presId="urn:microsoft.com/office/officeart/2018/2/layout/IconVerticalSolidList"/>
    <dgm:cxn modelId="{EB8CF6C5-D70F-4D18-8A60-A7FF50BE8106}" type="presParOf" srcId="{D0DB1BB5-0852-4A35-9FDA-BB3386E1126D}" destId="{3DC655F5-250E-4DF0-87A1-24C8450BC89B}" srcOrd="1" destOrd="0" presId="urn:microsoft.com/office/officeart/2018/2/layout/IconVerticalSolidList"/>
    <dgm:cxn modelId="{1D3C6641-44D9-4B3F-9279-4F055A1D9BB6}" type="presParOf" srcId="{D0DB1BB5-0852-4A35-9FDA-BB3386E1126D}" destId="{061D45A2-333D-426C-A7EB-3ED9FC0E9785}" srcOrd="2" destOrd="0" presId="urn:microsoft.com/office/officeart/2018/2/layout/IconVerticalSolidList"/>
    <dgm:cxn modelId="{FF0BE2AB-1D2F-4E62-9DEB-76685A5B628D}" type="presParOf" srcId="{D0DB1BB5-0852-4A35-9FDA-BB3386E1126D}" destId="{29337B0F-556F-49CB-804F-CCCE0F54EF57}" srcOrd="3" destOrd="0" presId="urn:microsoft.com/office/officeart/2018/2/layout/IconVerticalSolidList"/>
    <dgm:cxn modelId="{23D45D6A-7996-4048-84EE-F5DD4BEA2A61}" type="presParOf" srcId="{01C25ACE-EF3C-4589-81A7-437145DABC24}" destId="{9AA016E7-45DC-4DC6-8504-66AB68B44E6B}" srcOrd="7" destOrd="0" presId="urn:microsoft.com/office/officeart/2018/2/layout/IconVerticalSolidList"/>
    <dgm:cxn modelId="{4CD51C51-B0FA-4E06-9445-C365F1D0372F}" type="presParOf" srcId="{01C25ACE-EF3C-4589-81A7-437145DABC24}" destId="{5A9BB720-235E-42B2-B9B4-29F06C8CE68A}" srcOrd="8" destOrd="0" presId="urn:microsoft.com/office/officeart/2018/2/layout/IconVerticalSolidList"/>
    <dgm:cxn modelId="{AA9C9B81-4108-45C0-9754-28043DF3BAD8}" type="presParOf" srcId="{5A9BB720-235E-42B2-B9B4-29F06C8CE68A}" destId="{EA462224-BF63-46BE-853C-A99BFB302B17}" srcOrd="0" destOrd="0" presId="urn:microsoft.com/office/officeart/2018/2/layout/IconVerticalSolidList"/>
    <dgm:cxn modelId="{DBCF08FC-E78F-4877-9BFA-6E729A2F4B97}" type="presParOf" srcId="{5A9BB720-235E-42B2-B9B4-29F06C8CE68A}" destId="{882C85D0-1B17-4B91-B4C6-C355283A8C00}" srcOrd="1" destOrd="0" presId="urn:microsoft.com/office/officeart/2018/2/layout/IconVerticalSolidList"/>
    <dgm:cxn modelId="{B255912E-0CA5-4CA6-97A8-CD68ABB64E9A}" type="presParOf" srcId="{5A9BB720-235E-42B2-B9B4-29F06C8CE68A}" destId="{1CD4FE29-CE76-40AF-BFF2-B9572CD17627}" srcOrd="2" destOrd="0" presId="urn:microsoft.com/office/officeart/2018/2/layout/IconVerticalSolidList"/>
    <dgm:cxn modelId="{A62C5BAA-A8E2-441C-A3F5-FE607A7B4108}" type="presParOf" srcId="{5A9BB720-235E-42B2-B9B4-29F06C8CE68A}" destId="{F397DFC5-40E5-4B5A-B168-60BAF83C910B}"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5D29B14-239F-437B-836D-7E62B6F8E15B}" type="doc">
      <dgm:prSet loTypeId="urn:microsoft.com/office/officeart/2005/8/layout/process4" loCatId="process" qsTypeId="urn:microsoft.com/office/officeart/2005/8/quickstyle/simple1" qsCatId="simple" csTypeId="urn:microsoft.com/office/officeart/2005/8/colors/accent2_2" csCatId="accent2" phldr="1"/>
      <dgm:spPr/>
    </dgm:pt>
    <dgm:pt modelId="{A0F70BC0-4EB0-4BBC-879F-02065621DA02}">
      <dgm:prSet phldrT="[Text]" custT="1"/>
      <dgm:spPr/>
      <dgm:t>
        <a:bodyPr/>
        <a:lstStyle/>
        <a:p>
          <a:r>
            <a:rPr lang="en-US" sz="2400"/>
            <a:t>Make changes </a:t>
          </a:r>
          <a:r>
            <a:rPr lang="en-US" sz="2400" b="1"/>
            <a:t>locally</a:t>
          </a:r>
        </a:p>
      </dgm:t>
    </dgm:pt>
    <dgm:pt modelId="{38C1A4D5-4CF5-49A6-8A33-F23F396C93DB}" type="parTrans" cxnId="{851C21FB-78FC-497D-815D-5BD4A53FCFB6}">
      <dgm:prSet/>
      <dgm:spPr/>
      <dgm:t>
        <a:bodyPr/>
        <a:lstStyle/>
        <a:p>
          <a:endParaRPr lang="en-US" sz="2400"/>
        </a:p>
      </dgm:t>
    </dgm:pt>
    <dgm:pt modelId="{EE74A1C0-E68A-4C58-AC04-CF9D594BF023}" type="sibTrans" cxnId="{851C21FB-78FC-497D-815D-5BD4A53FCFB6}">
      <dgm:prSet/>
      <dgm:spPr/>
      <dgm:t>
        <a:bodyPr/>
        <a:lstStyle/>
        <a:p>
          <a:endParaRPr lang="en-US" sz="2400"/>
        </a:p>
      </dgm:t>
    </dgm:pt>
    <dgm:pt modelId="{D84CB310-203E-413B-B27D-56B1AF933A73}">
      <dgm:prSet phldrT="[Text]" custT="1"/>
      <dgm:spPr/>
      <dgm:t>
        <a:bodyPr/>
        <a:lstStyle/>
        <a:p>
          <a:pPr rtl="0"/>
          <a:r>
            <a:rPr lang="en-US" sz="2400"/>
            <a:t>Add to </a:t>
          </a:r>
          <a:r>
            <a:rPr lang="en-US" sz="2400">
              <a:latin typeface="Segoe UI Semibold"/>
            </a:rPr>
            <a:t>Staging Area</a:t>
          </a:r>
          <a:endParaRPr lang="en-US" sz="2400"/>
        </a:p>
      </dgm:t>
    </dgm:pt>
    <dgm:pt modelId="{94A88172-4F4B-4482-AC15-0F52137F9B83}" type="parTrans" cxnId="{9328E9A4-9916-400B-A1CC-023453B561BD}">
      <dgm:prSet/>
      <dgm:spPr/>
      <dgm:t>
        <a:bodyPr/>
        <a:lstStyle/>
        <a:p>
          <a:endParaRPr lang="en-US" sz="2400"/>
        </a:p>
      </dgm:t>
    </dgm:pt>
    <dgm:pt modelId="{B6AD36AA-FECE-4C5F-8614-3E903858AD61}" type="sibTrans" cxnId="{9328E9A4-9916-400B-A1CC-023453B561BD}">
      <dgm:prSet/>
      <dgm:spPr/>
      <dgm:t>
        <a:bodyPr/>
        <a:lstStyle/>
        <a:p>
          <a:endParaRPr lang="en-US" sz="2400"/>
        </a:p>
      </dgm:t>
    </dgm:pt>
    <dgm:pt modelId="{EF0F0401-F492-443C-89A9-03BF64E35EA6}">
      <dgm:prSet phldrT="[Text]" custT="1"/>
      <dgm:spPr/>
      <dgm:t>
        <a:bodyPr/>
        <a:lstStyle/>
        <a:p>
          <a:r>
            <a:rPr lang="en-US" sz="2400" b="1"/>
            <a:t>Commit</a:t>
          </a:r>
          <a:r>
            <a:rPr lang="en-US" sz="2400"/>
            <a:t> locally</a:t>
          </a:r>
        </a:p>
      </dgm:t>
    </dgm:pt>
    <dgm:pt modelId="{0E925E63-41C1-4D64-9AF8-1F36F6D343A1}" type="parTrans" cxnId="{D314FD4A-ACDC-46ED-93B0-25F8CC714DC9}">
      <dgm:prSet/>
      <dgm:spPr/>
      <dgm:t>
        <a:bodyPr/>
        <a:lstStyle/>
        <a:p>
          <a:endParaRPr lang="en-US" sz="2400"/>
        </a:p>
      </dgm:t>
    </dgm:pt>
    <dgm:pt modelId="{8CD7218E-4FA7-4C4E-949B-10D2EE880ABE}" type="sibTrans" cxnId="{D314FD4A-ACDC-46ED-93B0-25F8CC714DC9}">
      <dgm:prSet/>
      <dgm:spPr/>
      <dgm:t>
        <a:bodyPr/>
        <a:lstStyle/>
        <a:p>
          <a:endParaRPr lang="en-US" sz="2400"/>
        </a:p>
      </dgm:t>
    </dgm:pt>
    <dgm:pt modelId="{3FF694D0-ED3D-4DFC-814F-E83BA342AEBE}">
      <dgm:prSet phldrT="[Text]" custT="1"/>
      <dgm:spPr>
        <a:solidFill>
          <a:schemeClr val="accent3">
            <a:lumMod val="75000"/>
          </a:schemeClr>
        </a:solidFill>
      </dgm:spPr>
      <dgm:t>
        <a:bodyPr/>
        <a:lstStyle/>
        <a:p>
          <a:r>
            <a:rPr lang="en-US" sz="2400" b="1"/>
            <a:t>Pull</a:t>
          </a:r>
          <a:r>
            <a:rPr lang="en-US" sz="2400"/>
            <a:t> changes from </a:t>
          </a:r>
          <a:r>
            <a:rPr lang="en-US" sz="2400" b="1"/>
            <a:t>remote</a:t>
          </a:r>
          <a:r>
            <a:rPr lang="en-US" sz="2400"/>
            <a:t> repository </a:t>
          </a:r>
        </a:p>
      </dgm:t>
    </dgm:pt>
    <dgm:pt modelId="{35B80729-6554-41CC-AE2D-E8530AC8C942}" type="parTrans" cxnId="{93B2B173-3778-457F-A0F4-CD68F73F939D}">
      <dgm:prSet/>
      <dgm:spPr/>
      <dgm:t>
        <a:bodyPr/>
        <a:lstStyle/>
        <a:p>
          <a:endParaRPr lang="en-US"/>
        </a:p>
      </dgm:t>
    </dgm:pt>
    <dgm:pt modelId="{B854248C-8484-4210-BD0B-23A910C7FCA6}" type="sibTrans" cxnId="{93B2B173-3778-457F-A0F4-CD68F73F939D}">
      <dgm:prSet/>
      <dgm:spPr/>
      <dgm:t>
        <a:bodyPr/>
        <a:lstStyle/>
        <a:p>
          <a:endParaRPr lang="en-US"/>
        </a:p>
      </dgm:t>
    </dgm:pt>
    <dgm:pt modelId="{EB87B422-CA2D-4CDD-BE73-42448BD9CF7B}">
      <dgm:prSet phldrT="[Text]" custT="1"/>
      <dgm:spPr/>
      <dgm:t>
        <a:bodyPr/>
        <a:lstStyle/>
        <a:p>
          <a:r>
            <a:rPr lang="en-US" sz="2400" b="1"/>
            <a:t>Resolve</a:t>
          </a:r>
          <a:r>
            <a:rPr lang="en-US" sz="2400"/>
            <a:t> any conflicts </a:t>
          </a:r>
          <a:r>
            <a:rPr lang="en-US" sz="2400" b="1"/>
            <a:t>locally</a:t>
          </a:r>
        </a:p>
      </dgm:t>
    </dgm:pt>
    <dgm:pt modelId="{A451B039-6A57-4A1F-AB08-36712D73FA7A}" type="parTrans" cxnId="{3A59F09A-A2A8-4269-9FD1-5C152B4B56AC}">
      <dgm:prSet/>
      <dgm:spPr/>
      <dgm:t>
        <a:bodyPr/>
        <a:lstStyle/>
        <a:p>
          <a:endParaRPr lang="en-US"/>
        </a:p>
      </dgm:t>
    </dgm:pt>
    <dgm:pt modelId="{C4D467B1-DFBD-42CC-B1EB-0F8A55A3CB2C}" type="sibTrans" cxnId="{3A59F09A-A2A8-4269-9FD1-5C152B4B56AC}">
      <dgm:prSet/>
      <dgm:spPr/>
      <dgm:t>
        <a:bodyPr/>
        <a:lstStyle/>
        <a:p>
          <a:endParaRPr lang="en-US"/>
        </a:p>
      </dgm:t>
    </dgm:pt>
    <dgm:pt modelId="{F3AB5683-5677-4B76-B116-6810A5EDCA0E}">
      <dgm:prSet phldrT="[Text]" custT="1"/>
      <dgm:spPr>
        <a:solidFill>
          <a:schemeClr val="accent3">
            <a:lumMod val="75000"/>
          </a:schemeClr>
        </a:solidFill>
      </dgm:spPr>
      <dgm:t>
        <a:bodyPr/>
        <a:lstStyle/>
        <a:p>
          <a:r>
            <a:rPr lang="en-US" sz="2400" b="1"/>
            <a:t>Push</a:t>
          </a:r>
          <a:r>
            <a:rPr lang="en-US" sz="2400"/>
            <a:t> commit to </a:t>
          </a:r>
          <a:r>
            <a:rPr lang="en-US" sz="2400" b="1"/>
            <a:t>remote</a:t>
          </a:r>
          <a:r>
            <a:rPr lang="en-US" sz="2400"/>
            <a:t> repository</a:t>
          </a:r>
        </a:p>
      </dgm:t>
    </dgm:pt>
    <dgm:pt modelId="{5B72FD08-06F8-4B84-BDA1-F6114071DD19}" type="parTrans" cxnId="{FAC792FD-1C64-4A04-93DD-77360B3951B6}">
      <dgm:prSet/>
      <dgm:spPr/>
      <dgm:t>
        <a:bodyPr/>
        <a:lstStyle/>
        <a:p>
          <a:endParaRPr lang="en-US"/>
        </a:p>
      </dgm:t>
    </dgm:pt>
    <dgm:pt modelId="{0FCB6901-3C5C-4587-87DA-0B18331631A5}" type="sibTrans" cxnId="{FAC792FD-1C64-4A04-93DD-77360B3951B6}">
      <dgm:prSet/>
      <dgm:spPr/>
      <dgm:t>
        <a:bodyPr/>
        <a:lstStyle/>
        <a:p>
          <a:endParaRPr lang="en-US"/>
        </a:p>
      </dgm:t>
    </dgm:pt>
    <dgm:pt modelId="{BC56E71E-2FDF-4635-8BB3-A6CF0F6E6CEA}" type="pres">
      <dgm:prSet presAssocID="{85D29B14-239F-437B-836D-7E62B6F8E15B}" presName="Name0" presStyleCnt="0">
        <dgm:presLayoutVars>
          <dgm:dir/>
          <dgm:animLvl val="lvl"/>
          <dgm:resizeHandles val="exact"/>
        </dgm:presLayoutVars>
      </dgm:prSet>
      <dgm:spPr/>
    </dgm:pt>
    <dgm:pt modelId="{908C1C03-3E22-4085-9D07-2A4E92A67FC2}" type="pres">
      <dgm:prSet presAssocID="{F3AB5683-5677-4B76-B116-6810A5EDCA0E}" presName="boxAndChildren" presStyleCnt="0"/>
      <dgm:spPr/>
    </dgm:pt>
    <dgm:pt modelId="{A28DE5ED-8562-4DE2-8DB5-8E7BF1989BC4}" type="pres">
      <dgm:prSet presAssocID="{F3AB5683-5677-4B76-B116-6810A5EDCA0E}" presName="parentTextBox" presStyleLbl="node1" presStyleIdx="0" presStyleCnt="6"/>
      <dgm:spPr/>
    </dgm:pt>
    <dgm:pt modelId="{266145B6-4A66-4BC7-A63F-7BCD15649D79}" type="pres">
      <dgm:prSet presAssocID="{C4D467B1-DFBD-42CC-B1EB-0F8A55A3CB2C}" presName="sp" presStyleCnt="0"/>
      <dgm:spPr/>
    </dgm:pt>
    <dgm:pt modelId="{29A5A95C-6482-4E48-B92A-E10E38B5FE81}" type="pres">
      <dgm:prSet presAssocID="{EB87B422-CA2D-4CDD-BE73-42448BD9CF7B}" presName="arrowAndChildren" presStyleCnt="0"/>
      <dgm:spPr/>
    </dgm:pt>
    <dgm:pt modelId="{F2A53CC0-E751-4625-B79D-F94B0D6F708C}" type="pres">
      <dgm:prSet presAssocID="{EB87B422-CA2D-4CDD-BE73-42448BD9CF7B}" presName="parentTextArrow" presStyleLbl="node1" presStyleIdx="1" presStyleCnt="6"/>
      <dgm:spPr/>
    </dgm:pt>
    <dgm:pt modelId="{CA7898C1-6E22-47D8-83C2-F76290937DED}" type="pres">
      <dgm:prSet presAssocID="{B854248C-8484-4210-BD0B-23A910C7FCA6}" presName="sp" presStyleCnt="0"/>
      <dgm:spPr/>
    </dgm:pt>
    <dgm:pt modelId="{1A0A9D57-3545-4FBE-9CB4-8F00A819CE86}" type="pres">
      <dgm:prSet presAssocID="{3FF694D0-ED3D-4DFC-814F-E83BA342AEBE}" presName="arrowAndChildren" presStyleCnt="0"/>
      <dgm:spPr/>
    </dgm:pt>
    <dgm:pt modelId="{DF0F2E52-84AF-47F9-8405-00F33533D7C1}" type="pres">
      <dgm:prSet presAssocID="{3FF694D0-ED3D-4DFC-814F-E83BA342AEBE}" presName="parentTextArrow" presStyleLbl="node1" presStyleIdx="2" presStyleCnt="6"/>
      <dgm:spPr/>
    </dgm:pt>
    <dgm:pt modelId="{F0EE07DF-CCC3-4CC1-98A4-950D9B2C01A1}" type="pres">
      <dgm:prSet presAssocID="{8CD7218E-4FA7-4C4E-949B-10D2EE880ABE}" presName="sp" presStyleCnt="0"/>
      <dgm:spPr/>
    </dgm:pt>
    <dgm:pt modelId="{F269A117-9661-45C2-AB4C-BFF9F462A8D8}" type="pres">
      <dgm:prSet presAssocID="{EF0F0401-F492-443C-89A9-03BF64E35EA6}" presName="arrowAndChildren" presStyleCnt="0"/>
      <dgm:spPr/>
    </dgm:pt>
    <dgm:pt modelId="{E4E26344-0703-415F-981F-02D25AC490A6}" type="pres">
      <dgm:prSet presAssocID="{EF0F0401-F492-443C-89A9-03BF64E35EA6}" presName="parentTextArrow" presStyleLbl="node1" presStyleIdx="3" presStyleCnt="6"/>
      <dgm:spPr/>
    </dgm:pt>
    <dgm:pt modelId="{E76A2E38-5E23-4032-853D-947C02244C57}" type="pres">
      <dgm:prSet presAssocID="{B6AD36AA-FECE-4C5F-8614-3E903858AD61}" presName="sp" presStyleCnt="0"/>
      <dgm:spPr/>
    </dgm:pt>
    <dgm:pt modelId="{ED8D15AD-4581-4B7A-B08D-A227DD22BA57}" type="pres">
      <dgm:prSet presAssocID="{D84CB310-203E-413B-B27D-56B1AF933A73}" presName="arrowAndChildren" presStyleCnt="0"/>
      <dgm:spPr/>
    </dgm:pt>
    <dgm:pt modelId="{96236327-1070-4059-B231-B41A5209622C}" type="pres">
      <dgm:prSet presAssocID="{D84CB310-203E-413B-B27D-56B1AF933A73}" presName="parentTextArrow" presStyleLbl="node1" presStyleIdx="4" presStyleCnt="6"/>
      <dgm:spPr/>
    </dgm:pt>
    <dgm:pt modelId="{7C342E8F-7D67-4523-BBB5-E2DD172F2750}" type="pres">
      <dgm:prSet presAssocID="{EE74A1C0-E68A-4C58-AC04-CF9D594BF023}" presName="sp" presStyleCnt="0"/>
      <dgm:spPr/>
    </dgm:pt>
    <dgm:pt modelId="{536672F8-E891-4C49-B944-C6BA9D3342DD}" type="pres">
      <dgm:prSet presAssocID="{A0F70BC0-4EB0-4BBC-879F-02065621DA02}" presName="arrowAndChildren" presStyleCnt="0"/>
      <dgm:spPr/>
    </dgm:pt>
    <dgm:pt modelId="{94571755-D401-42B0-A7B8-5D355FFD0AA0}" type="pres">
      <dgm:prSet presAssocID="{A0F70BC0-4EB0-4BBC-879F-02065621DA02}" presName="parentTextArrow" presStyleLbl="node1" presStyleIdx="5" presStyleCnt="6"/>
      <dgm:spPr/>
    </dgm:pt>
  </dgm:ptLst>
  <dgm:cxnLst>
    <dgm:cxn modelId="{49E7151D-5370-4133-947A-F9E91B268462}" type="presOf" srcId="{D84CB310-203E-413B-B27D-56B1AF933A73}" destId="{96236327-1070-4059-B231-B41A5209622C}" srcOrd="0" destOrd="0" presId="urn:microsoft.com/office/officeart/2005/8/layout/process4"/>
    <dgm:cxn modelId="{199DEC2A-12ED-40A6-90CC-FE7F829EC579}" type="presOf" srcId="{EF0F0401-F492-443C-89A9-03BF64E35EA6}" destId="{E4E26344-0703-415F-981F-02D25AC490A6}" srcOrd="0" destOrd="0" presId="urn:microsoft.com/office/officeart/2005/8/layout/process4"/>
    <dgm:cxn modelId="{8DACAD48-1F11-44BF-8C0E-E35A9A04CD01}" type="presOf" srcId="{A0F70BC0-4EB0-4BBC-879F-02065621DA02}" destId="{94571755-D401-42B0-A7B8-5D355FFD0AA0}" srcOrd="0" destOrd="0" presId="urn:microsoft.com/office/officeart/2005/8/layout/process4"/>
    <dgm:cxn modelId="{D314FD4A-ACDC-46ED-93B0-25F8CC714DC9}" srcId="{85D29B14-239F-437B-836D-7E62B6F8E15B}" destId="{EF0F0401-F492-443C-89A9-03BF64E35EA6}" srcOrd="2" destOrd="0" parTransId="{0E925E63-41C1-4D64-9AF8-1F36F6D343A1}" sibTransId="{8CD7218E-4FA7-4C4E-949B-10D2EE880ABE}"/>
    <dgm:cxn modelId="{C505A46F-52E5-48B9-BD90-7D5DEF699806}" type="presOf" srcId="{F3AB5683-5677-4B76-B116-6810A5EDCA0E}" destId="{A28DE5ED-8562-4DE2-8DB5-8E7BF1989BC4}" srcOrd="0" destOrd="0" presId="urn:microsoft.com/office/officeart/2005/8/layout/process4"/>
    <dgm:cxn modelId="{93B2B173-3778-457F-A0F4-CD68F73F939D}" srcId="{85D29B14-239F-437B-836D-7E62B6F8E15B}" destId="{3FF694D0-ED3D-4DFC-814F-E83BA342AEBE}" srcOrd="3" destOrd="0" parTransId="{35B80729-6554-41CC-AE2D-E8530AC8C942}" sibTransId="{B854248C-8484-4210-BD0B-23A910C7FCA6}"/>
    <dgm:cxn modelId="{3A59F09A-A2A8-4269-9FD1-5C152B4B56AC}" srcId="{85D29B14-239F-437B-836D-7E62B6F8E15B}" destId="{EB87B422-CA2D-4CDD-BE73-42448BD9CF7B}" srcOrd="4" destOrd="0" parTransId="{A451B039-6A57-4A1F-AB08-36712D73FA7A}" sibTransId="{C4D467B1-DFBD-42CC-B1EB-0F8A55A3CB2C}"/>
    <dgm:cxn modelId="{B0BD1BA0-29AF-468A-9AE5-29A71390CAF5}" type="presOf" srcId="{3FF694D0-ED3D-4DFC-814F-E83BA342AEBE}" destId="{DF0F2E52-84AF-47F9-8405-00F33533D7C1}" srcOrd="0" destOrd="0" presId="urn:microsoft.com/office/officeart/2005/8/layout/process4"/>
    <dgm:cxn modelId="{9328E9A4-9916-400B-A1CC-023453B561BD}" srcId="{85D29B14-239F-437B-836D-7E62B6F8E15B}" destId="{D84CB310-203E-413B-B27D-56B1AF933A73}" srcOrd="1" destOrd="0" parTransId="{94A88172-4F4B-4482-AC15-0F52137F9B83}" sibTransId="{B6AD36AA-FECE-4C5F-8614-3E903858AD61}"/>
    <dgm:cxn modelId="{0A4E78E0-92E1-4C26-A2DB-D346E92474E3}" type="presOf" srcId="{EB87B422-CA2D-4CDD-BE73-42448BD9CF7B}" destId="{F2A53CC0-E751-4625-B79D-F94B0D6F708C}" srcOrd="0" destOrd="0" presId="urn:microsoft.com/office/officeart/2005/8/layout/process4"/>
    <dgm:cxn modelId="{D79640FA-124A-4489-A770-2A8812E527AC}" type="presOf" srcId="{85D29B14-239F-437B-836D-7E62B6F8E15B}" destId="{BC56E71E-2FDF-4635-8BB3-A6CF0F6E6CEA}" srcOrd="0" destOrd="0" presId="urn:microsoft.com/office/officeart/2005/8/layout/process4"/>
    <dgm:cxn modelId="{851C21FB-78FC-497D-815D-5BD4A53FCFB6}" srcId="{85D29B14-239F-437B-836D-7E62B6F8E15B}" destId="{A0F70BC0-4EB0-4BBC-879F-02065621DA02}" srcOrd="0" destOrd="0" parTransId="{38C1A4D5-4CF5-49A6-8A33-F23F396C93DB}" sibTransId="{EE74A1C0-E68A-4C58-AC04-CF9D594BF023}"/>
    <dgm:cxn modelId="{FAC792FD-1C64-4A04-93DD-77360B3951B6}" srcId="{85D29B14-239F-437B-836D-7E62B6F8E15B}" destId="{F3AB5683-5677-4B76-B116-6810A5EDCA0E}" srcOrd="5" destOrd="0" parTransId="{5B72FD08-06F8-4B84-BDA1-F6114071DD19}" sibTransId="{0FCB6901-3C5C-4587-87DA-0B18331631A5}"/>
    <dgm:cxn modelId="{B06F36B2-72F5-4469-8FC0-71A7A6DF713D}" type="presParOf" srcId="{BC56E71E-2FDF-4635-8BB3-A6CF0F6E6CEA}" destId="{908C1C03-3E22-4085-9D07-2A4E92A67FC2}" srcOrd="0" destOrd="0" presId="urn:microsoft.com/office/officeart/2005/8/layout/process4"/>
    <dgm:cxn modelId="{483B2081-D20A-4660-B476-379275EA679B}" type="presParOf" srcId="{908C1C03-3E22-4085-9D07-2A4E92A67FC2}" destId="{A28DE5ED-8562-4DE2-8DB5-8E7BF1989BC4}" srcOrd="0" destOrd="0" presId="urn:microsoft.com/office/officeart/2005/8/layout/process4"/>
    <dgm:cxn modelId="{3ACD677E-E4AA-40A8-B233-BEDA3B9529D2}" type="presParOf" srcId="{BC56E71E-2FDF-4635-8BB3-A6CF0F6E6CEA}" destId="{266145B6-4A66-4BC7-A63F-7BCD15649D79}" srcOrd="1" destOrd="0" presId="urn:microsoft.com/office/officeart/2005/8/layout/process4"/>
    <dgm:cxn modelId="{6950CE73-B80D-485F-8922-FC89CF8BADA9}" type="presParOf" srcId="{BC56E71E-2FDF-4635-8BB3-A6CF0F6E6CEA}" destId="{29A5A95C-6482-4E48-B92A-E10E38B5FE81}" srcOrd="2" destOrd="0" presId="urn:microsoft.com/office/officeart/2005/8/layout/process4"/>
    <dgm:cxn modelId="{FC4F9FFE-04A1-4D93-A5E8-14A566195265}" type="presParOf" srcId="{29A5A95C-6482-4E48-B92A-E10E38B5FE81}" destId="{F2A53CC0-E751-4625-B79D-F94B0D6F708C}" srcOrd="0" destOrd="0" presId="urn:microsoft.com/office/officeart/2005/8/layout/process4"/>
    <dgm:cxn modelId="{89DFA6AC-6D5A-4E38-AD8A-D8DEDE88AF9C}" type="presParOf" srcId="{BC56E71E-2FDF-4635-8BB3-A6CF0F6E6CEA}" destId="{CA7898C1-6E22-47D8-83C2-F76290937DED}" srcOrd="3" destOrd="0" presId="urn:microsoft.com/office/officeart/2005/8/layout/process4"/>
    <dgm:cxn modelId="{2400A9D0-EC5E-40A1-A38A-24D287664288}" type="presParOf" srcId="{BC56E71E-2FDF-4635-8BB3-A6CF0F6E6CEA}" destId="{1A0A9D57-3545-4FBE-9CB4-8F00A819CE86}" srcOrd="4" destOrd="0" presId="urn:microsoft.com/office/officeart/2005/8/layout/process4"/>
    <dgm:cxn modelId="{206716F2-F00C-4C0E-BB02-BEC63FFE002C}" type="presParOf" srcId="{1A0A9D57-3545-4FBE-9CB4-8F00A819CE86}" destId="{DF0F2E52-84AF-47F9-8405-00F33533D7C1}" srcOrd="0" destOrd="0" presId="urn:microsoft.com/office/officeart/2005/8/layout/process4"/>
    <dgm:cxn modelId="{5744EE0B-B105-4B0C-8CC4-1041BC645C4D}" type="presParOf" srcId="{BC56E71E-2FDF-4635-8BB3-A6CF0F6E6CEA}" destId="{F0EE07DF-CCC3-4CC1-98A4-950D9B2C01A1}" srcOrd="5" destOrd="0" presId="urn:microsoft.com/office/officeart/2005/8/layout/process4"/>
    <dgm:cxn modelId="{F8A62B16-C83F-49CD-806D-414599FABB5B}" type="presParOf" srcId="{BC56E71E-2FDF-4635-8BB3-A6CF0F6E6CEA}" destId="{F269A117-9661-45C2-AB4C-BFF9F462A8D8}" srcOrd="6" destOrd="0" presId="urn:microsoft.com/office/officeart/2005/8/layout/process4"/>
    <dgm:cxn modelId="{BAE8E16E-51FC-4C3F-A70D-6442E74C6135}" type="presParOf" srcId="{F269A117-9661-45C2-AB4C-BFF9F462A8D8}" destId="{E4E26344-0703-415F-981F-02D25AC490A6}" srcOrd="0" destOrd="0" presId="urn:microsoft.com/office/officeart/2005/8/layout/process4"/>
    <dgm:cxn modelId="{9656C0BD-C327-4ABC-AFAA-7845122F73E6}" type="presParOf" srcId="{BC56E71E-2FDF-4635-8BB3-A6CF0F6E6CEA}" destId="{E76A2E38-5E23-4032-853D-947C02244C57}" srcOrd="7" destOrd="0" presId="urn:microsoft.com/office/officeart/2005/8/layout/process4"/>
    <dgm:cxn modelId="{0058AE27-97E0-4727-A5EA-3178EEDD5EA3}" type="presParOf" srcId="{BC56E71E-2FDF-4635-8BB3-A6CF0F6E6CEA}" destId="{ED8D15AD-4581-4B7A-B08D-A227DD22BA57}" srcOrd="8" destOrd="0" presId="urn:microsoft.com/office/officeart/2005/8/layout/process4"/>
    <dgm:cxn modelId="{0C81B6E4-0952-42E6-AAA0-A1F10CB813F2}" type="presParOf" srcId="{ED8D15AD-4581-4B7A-B08D-A227DD22BA57}" destId="{96236327-1070-4059-B231-B41A5209622C}" srcOrd="0" destOrd="0" presId="urn:microsoft.com/office/officeart/2005/8/layout/process4"/>
    <dgm:cxn modelId="{123DD1D8-CFC4-45EE-A9CC-8E1B13522C49}" type="presParOf" srcId="{BC56E71E-2FDF-4635-8BB3-A6CF0F6E6CEA}" destId="{7C342E8F-7D67-4523-BBB5-E2DD172F2750}" srcOrd="9" destOrd="0" presId="urn:microsoft.com/office/officeart/2005/8/layout/process4"/>
    <dgm:cxn modelId="{CFDAABED-9BCA-439F-9E7C-7B6A11F82C50}" type="presParOf" srcId="{BC56E71E-2FDF-4635-8BB3-A6CF0F6E6CEA}" destId="{536672F8-E891-4C49-B944-C6BA9D3342DD}" srcOrd="10" destOrd="0" presId="urn:microsoft.com/office/officeart/2005/8/layout/process4"/>
    <dgm:cxn modelId="{42CD9B2B-C22D-4B4E-A106-526CC0B73C02}" type="presParOf" srcId="{536672F8-E891-4C49-B944-C6BA9D3342DD}" destId="{94571755-D401-42B0-A7B8-5D355FFD0AA0}"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046BC35-C90C-4C26-ADB1-3D8D2F623AC9}"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194E8726-9974-4906-B63B-5D1A2B0D2597}">
      <dgm:prSet custT="1"/>
      <dgm:spPr/>
      <dgm:t>
        <a:bodyPr/>
        <a:lstStyle/>
        <a:p>
          <a:r>
            <a:rPr lang="en-US" sz="2400" b="0"/>
            <a:t>Performing a push </a:t>
          </a:r>
          <a:r>
            <a:rPr lang="en-US" sz="2400" b="1"/>
            <a:t>before</a:t>
          </a:r>
          <a:r>
            <a:rPr lang="en-US" sz="2400" b="0"/>
            <a:t> a pull will give </a:t>
          </a:r>
          <a:r>
            <a:rPr lang="en-US" sz="2400" b="1"/>
            <a:t>errors</a:t>
          </a:r>
          <a:r>
            <a:rPr lang="en-US" sz="2400" b="0"/>
            <a:t> on conflicts and won’t complete</a:t>
          </a:r>
        </a:p>
      </dgm:t>
    </dgm:pt>
    <dgm:pt modelId="{3C1EE5E5-06A9-4E49-AF53-CEFDB4EF81F9}" type="parTrans" cxnId="{39F01202-B2FF-46A1-BD23-789AFF6456D7}">
      <dgm:prSet/>
      <dgm:spPr/>
      <dgm:t>
        <a:bodyPr/>
        <a:lstStyle/>
        <a:p>
          <a:endParaRPr lang="en-US" sz="2400" b="0"/>
        </a:p>
      </dgm:t>
    </dgm:pt>
    <dgm:pt modelId="{09D55B1F-87D4-42BE-A5DC-AEB03E88FDB0}" type="sibTrans" cxnId="{39F01202-B2FF-46A1-BD23-789AFF6456D7}">
      <dgm:prSet/>
      <dgm:spPr/>
      <dgm:t>
        <a:bodyPr/>
        <a:lstStyle/>
        <a:p>
          <a:endParaRPr lang="en-US" sz="2400" b="0"/>
        </a:p>
      </dgm:t>
    </dgm:pt>
    <dgm:pt modelId="{3D0A4BC0-9E60-4D4D-9AD1-4B89B86816CC}">
      <dgm:prSet custT="1"/>
      <dgm:spPr/>
      <dgm:t>
        <a:bodyPr/>
        <a:lstStyle/>
        <a:p>
          <a:r>
            <a:rPr lang="en-US" sz="2400" b="0"/>
            <a:t>Pull </a:t>
          </a:r>
          <a:r>
            <a:rPr lang="en-US" sz="2400" b="1"/>
            <a:t>before</a:t>
          </a:r>
          <a:r>
            <a:rPr lang="en-US" sz="2400" b="0"/>
            <a:t> pushing to integrate </a:t>
          </a:r>
          <a:r>
            <a:rPr lang="en-US" sz="2400" b="1"/>
            <a:t>changes</a:t>
          </a:r>
          <a:r>
            <a:rPr lang="en-US" sz="2400" b="0"/>
            <a:t> </a:t>
          </a:r>
        </a:p>
      </dgm:t>
    </dgm:pt>
    <dgm:pt modelId="{C7B3374D-021D-4282-AA91-5F1BB324572C}" type="parTrans" cxnId="{DD6D2344-4A46-483E-83A7-73455C530762}">
      <dgm:prSet/>
      <dgm:spPr/>
      <dgm:t>
        <a:bodyPr/>
        <a:lstStyle/>
        <a:p>
          <a:endParaRPr lang="en-US" b="0"/>
        </a:p>
      </dgm:t>
    </dgm:pt>
    <dgm:pt modelId="{F504F6D7-C20E-4E54-A449-341BA7D62312}" type="sibTrans" cxnId="{DD6D2344-4A46-483E-83A7-73455C530762}">
      <dgm:prSet/>
      <dgm:spPr/>
      <dgm:t>
        <a:bodyPr/>
        <a:lstStyle/>
        <a:p>
          <a:endParaRPr lang="en-US" b="0"/>
        </a:p>
      </dgm:t>
    </dgm:pt>
    <dgm:pt modelId="{DFCB52C5-1667-4FC4-B5DF-FF2004727EDE}">
      <dgm:prSet custT="1"/>
      <dgm:spPr/>
      <dgm:t>
        <a:bodyPr/>
        <a:lstStyle/>
        <a:p>
          <a:r>
            <a:rPr lang="en-US" sz="2400" b="0"/>
            <a:t>Push and pull </a:t>
          </a:r>
          <a:r>
            <a:rPr lang="en-US" sz="2400" b="1"/>
            <a:t>frequently</a:t>
          </a:r>
          <a:r>
            <a:rPr lang="en-US" sz="2400" b="0"/>
            <a:t> to reduce conflicts</a:t>
          </a:r>
        </a:p>
      </dgm:t>
    </dgm:pt>
    <dgm:pt modelId="{C3D2E626-635E-4E5C-8662-83E0D7FA441A}" type="parTrans" cxnId="{32601C42-BB69-422B-9B34-A9FD24016452}">
      <dgm:prSet/>
      <dgm:spPr/>
      <dgm:t>
        <a:bodyPr/>
        <a:lstStyle/>
        <a:p>
          <a:endParaRPr lang="en-US" b="0"/>
        </a:p>
      </dgm:t>
    </dgm:pt>
    <dgm:pt modelId="{69AEE6E1-C150-4039-B4BD-8FEEB0401138}" type="sibTrans" cxnId="{32601C42-BB69-422B-9B34-A9FD24016452}">
      <dgm:prSet/>
      <dgm:spPr/>
      <dgm:t>
        <a:bodyPr/>
        <a:lstStyle/>
        <a:p>
          <a:endParaRPr lang="en-US" b="0"/>
        </a:p>
      </dgm:t>
    </dgm:pt>
    <dgm:pt modelId="{59733159-BF96-4C4E-831D-DFBAE24264AD}">
      <dgm:prSet custT="1"/>
      <dgm:spPr/>
      <dgm:t>
        <a:bodyPr/>
        <a:lstStyle/>
        <a:p>
          <a:r>
            <a:rPr lang="en-AU" sz="2400">
              <a:solidFill>
                <a:schemeClr val="accent1"/>
              </a:solidFill>
              <a:latin typeface="Lucida Console"/>
            </a:rPr>
            <a:t>git</a:t>
          </a:r>
          <a:r>
            <a:rPr lang="en-US" sz="2400">
              <a:solidFill>
                <a:schemeClr val="accent1"/>
              </a:solidFill>
              <a:latin typeface="Lucida Console" panose="020B0609040504020204" pitchFamily="49" charset="0"/>
            </a:rPr>
            <a:t> fetch</a:t>
          </a:r>
          <a:r>
            <a:rPr lang="en-US" sz="2400" b="0">
              <a:solidFill>
                <a:schemeClr val="accent1"/>
              </a:solidFill>
            </a:rPr>
            <a:t> </a:t>
          </a:r>
          <a:r>
            <a:rPr lang="en-US" sz="2400" b="0"/>
            <a:t>and </a:t>
          </a:r>
          <a:r>
            <a:rPr lang="en-AU" sz="2400">
              <a:solidFill>
                <a:schemeClr val="accent1"/>
              </a:solidFill>
              <a:latin typeface="Lucida Console"/>
            </a:rPr>
            <a:t>git</a:t>
          </a:r>
          <a:r>
            <a:rPr lang="en-US" sz="2400">
              <a:solidFill>
                <a:schemeClr val="accent1"/>
              </a:solidFill>
              <a:latin typeface="Lucida Console" panose="020B0609040504020204" pitchFamily="49" charset="0"/>
            </a:rPr>
            <a:t> status </a:t>
          </a:r>
          <a:r>
            <a:rPr lang="en-US" sz="2400" b="0"/>
            <a:t>can be used to </a:t>
          </a:r>
          <a:r>
            <a:rPr lang="en-US" sz="2400" b="1"/>
            <a:t>check</a:t>
          </a:r>
          <a:r>
            <a:rPr lang="en-US" sz="2400" b="0"/>
            <a:t> what </a:t>
          </a:r>
          <a:r>
            <a:rPr lang="en-US" sz="2400" b="1"/>
            <a:t>changes</a:t>
          </a:r>
          <a:r>
            <a:rPr lang="en-US" sz="2400" b="0"/>
            <a:t> have been made remotely</a:t>
          </a:r>
        </a:p>
      </dgm:t>
    </dgm:pt>
    <dgm:pt modelId="{EA71C20C-767E-4245-874E-33D80412B2F8}" type="parTrans" cxnId="{6026240D-B1C9-4D6E-9AA6-C85FD66543BC}">
      <dgm:prSet/>
      <dgm:spPr/>
      <dgm:t>
        <a:bodyPr/>
        <a:lstStyle/>
        <a:p>
          <a:endParaRPr lang="en-US"/>
        </a:p>
      </dgm:t>
    </dgm:pt>
    <dgm:pt modelId="{686F98F4-464E-4BE5-95AA-779336112DC1}" type="sibTrans" cxnId="{6026240D-B1C9-4D6E-9AA6-C85FD66543BC}">
      <dgm:prSet/>
      <dgm:spPr/>
      <dgm:t>
        <a:bodyPr/>
        <a:lstStyle/>
        <a:p>
          <a:endParaRPr lang="en-US"/>
        </a:p>
      </dgm:t>
    </dgm:pt>
    <dgm:pt modelId="{D99C4055-AEEC-4D1F-9758-0E55BBF7F16F}" type="pres">
      <dgm:prSet presAssocID="{0046BC35-C90C-4C26-ADB1-3D8D2F623AC9}" presName="vert0" presStyleCnt="0">
        <dgm:presLayoutVars>
          <dgm:dir/>
          <dgm:animOne val="branch"/>
          <dgm:animLvl val="lvl"/>
        </dgm:presLayoutVars>
      </dgm:prSet>
      <dgm:spPr/>
    </dgm:pt>
    <dgm:pt modelId="{C41BC3D9-E3F3-48CA-81E8-A0D39EA56554}" type="pres">
      <dgm:prSet presAssocID="{194E8726-9974-4906-B63B-5D1A2B0D2597}" presName="thickLine" presStyleLbl="alignNode1" presStyleIdx="0" presStyleCnt="4"/>
      <dgm:spPr/>
    </dgm:pt>
    <dgm:pt modelId="{D1D9E7A1-1B68-4FB7-A75A-C4C3E7C4B014}" type="pres">
      <dgm:prSet presAssocID="{194E8726-9974-4906-B63B-5D1A2B0D2597}" presName="horz1" presStyleCnt="0"/>
      <dgm:spPr/>
    </dgm:pt>
    <dgm:pt modelId="{06E0261C-C1AB-4148-A52F-E9EC0B412404}" type="pres">
      <dgm:prSet presAssocID="{194E8726-9974-4906-B63B-5D1A2B0D2597}" presName="tx1" presStyleLbl="revTx" presStyleIdx="0" presStyleCnt="4"/>
      <dgm:spPr/>
    </dgm:pt>
    <dgm:pt modelId="{BFC6ACED-C650-498B-8B86-74C47653F0D1}" type="pres">
      <dgm:prSet presAssocID="{194E8726-9974-4906-B63B-5D1A2B0D2597}" presName="vert1" presStyleCnt="0"/>
      <dgm:spPr/>
    </dgm:pt>
    <dgm:pt modelId="{D307D91C-E0EF-446D-8F6E-36DD9D835096}" type="pres">
      <dgm:prSet presAssocID="{3D0A4BC0-9E60-4D4D-9AD1-4B89B86816CC}" presName="thickLine" presStyleLbl="alignNode1" presStyleIdx="1" presStyleCnt="4"/>
      <dgm:spPr/>
    </dgm:pt>
    <dgm:pt modelId="{A06C9CEC-4C20-4204-B56A-6288579E97E4}" type="pres">
      <dgm:prSet presAssocID="{3D0A4BC0-9E60-4D4D-9AD1-4B89B86816CC}" presName="horz1" presStyleCnt="0"/>
      <dgm:spPr/>
    </dgm:pt>
    <dgm:pt modelId="{4B3D4827-B8FF-4853-BCB1-9C669F65F9E0}" type="pres">
      <dgm:prSet presAssocID="{3D0A4BC0-9E60-4D4D-9AD1-4B89B86816CC}" presName="tx1" presStyleLbl="revTx" presStyleIdx="1" presStyleCnt="4"/>
      <dgm:spPr/>
    </dgm:pt>
    <dgm:pt modelId="{C935BCB9-47E7-4442-B799-053CC44C4897}" type="pres">
      <dgm:prSet presAssocID="{3D0A4BC0-9E60-4D4D-9AD1-4B89B86816CC}" presName="vert1" presStyleCnt="0"/>
      <dgm:spPr/>
    </dgm:pt>
    <dgm:pt modelId="{7A828B2A-97F8-4F6D-A335-6D22C4D0C79B}" type="pres">
      <dgm:prSet presAssocID="{DFCB52C5-1667-4FC4-B5DF-FF2004727EDE}" presName="thickLine" presStyleLbl="alignNode1" presStyleIdx="2" presStyleCnt="4"/>
      <dgm:spPr/>
    </dgm:pt>
    <dgm:pt modelId="{FC30916E-478D-4B93-A184-E07F33E181D0}" type="pres">
      <dgm:prSet presAssocID="{DFCB52C5-1667-4FC4-B5DF-FF2004727EDE}" presName="horz1" presStyleCnt="0"/>
      <dgm:spPr/>
    </dgm:pt>
    <dgm:pt modelId="{790CB1EA-42DA-414C-9331-E9FB3A55BA26}" type="pres">
      <dgm:prSet presAssocID="{DFCB52C5-1667-4FC4-B5DF-FF2004727EDE}" presName="tx1" presStyleLbl="revTx" presStyleIdx="2" presStyleCnt="4"/>
      <dgm:spPr/>
    </dgm:pt>
    <dgm:pt modelId="{CE65138C-7951-4343-A35F-322459A3A21E}" type="pres">
      <dgm:prSet presAssocID="{DFCB52C5-1667-4FC4-B5DF-FF2004727EDE}" presName="vert1" presStyleCnt="0"/>
      <dgm:spPr/>
    </dgm:pt>
    <dgm:pt modelId="{4E461AA4-6248-4A05-8C28-A4F87C20ACD0}" type="pres">
      <dgm:prSet presAssocID="{59733159-BF96-4C4E-831D-DFBAE24264AD}" presName="thickLine" presStyleLbl="alignNode1" presStyleIdx="3" presStyleCnt="4"/>
      <dgm:spPr/>
    </dgm:pt>
    <dgm:pt modelId="{D0449933-33DC-41C5-BBD4-27CBBC9A09EF}" type="pres">
      <dgm:prSet presAssocID="{59733159-BF96-4C4E-831D-DFBAE24264AD}" presName="horz1" presStyleCnt="0"/>
      <dgm:spPr/>
    </dgm:pt>
    <dgm:pt modelId="{E228320E-DFF8-48E4-AAE7-EB2CE1BD486C}" type="pres">
      <dgm:prSet presAssocID="{59733159-BF96-4C4E-831D-DFBAE24264AD}" presName="tx1" presStyleLbl="revTx" presStyleIdx="3" presStyleCnt="4"/>
      <dgm:spPr/>
    </dgm:pt>
    <dgm:pt modelId="{2D142809-0387-41D4-AF03-EFEF0F2DCBD9}" type="pres">
      <dgm:prSet presAssocID="{59733159-BF96-4C4E-831D-DFBAE24264AD}" presName="vert1" presStyleCnt="0"/>
      <dgm:spPr/>
    </dgm:pt>
  </dgm:ptLst>
  <dgm:cxnLst>
    <dgm:cxn modelId="{39F01202-B2FF-46A1-BD23-789AFF6456D7}" srcId="{0046BC35-C90C-4C26-ADB1-3D8D2F623AC9}" destId="{194E8726-9974-4906-B63B-5D1A2B0D2597}" srcOrd="0" destOrd="0" parTransId="{3C1EE5E5-06A9-4E49-AF53-CEFDB4EF81F9}" sibTransId="{09D55B1F-87D4-42BE-A5DC-AEB03E88FDB0}"/>
    <dgm:cxn modelId="{6026240D-B1C9-4D6E-9AA6-C85FD66543BC}" srcId="{0046BC35-C90C-4C26-ADB1-3D8D2F623AC9}" destId="{59733159-BF96-4C4E-831D-DFBAE24264AD}" srcOrd="3" destOrd="0" parTransId="{EA71C20C-767E-4245-874E-33D80412B2F8}" sibTransId="{686F98F4-464E-4BE5-95AA-779336112DC1}"/>
    <dgm:cxn modelId="{32601C42-BB69-422B-9B34-A9FD24016452}" srcId="{0046BC35-C90C-4C26-ADB1-3D8D2F623AC9}" destId="{DFCB52C5-1667-4FC4-B5DF-FF2004727EDE}" srcOrd="2" destOrd="0" parTransId="{C3D2E626-635E-4E5C-8662-83E0D7FA441A}" sibTransId="{69AEE6E1-C150-4039-B4BD-8FEEB0401138}"/>
    <dgm:cxn modelId="{DD6D2344-4A46-483E-83A7-73455C530762}" srcId="{0046BC35-C90C-4C26-ADB1-3D8D2F623AC9}" destId="{3D0A4BC0-9E60-4D4D-9AD1-4B89B86816CC}" srcOrd="1" destOrd="0" parTransId="{C7B3374D-021D-4282-AA91-5F1BB324572C}" sibTransId="{F504F6D7-C20E-4E54-A449-341BA7D62312}"/>
    <dgm:cxn modelId="{B93A2B68-2B9A-4C3F-8A26-320173C2EF59}" type="presOf" srcId="{194E8726-9974-4906-B63B-5D1A2B0D2597}" destId="{06E0261C-C1AB-4148-A52F-E9EC0B412404}" srcOrd="0" destOrd="0" presId="urn:microsoft.com/office/officeart/2008/layout/LinedList"/>
    <dgm:cxn modelId="{5001F949-4221-470D-B5E9-F603B0C68C56}" type="presOf" srcId="{3D0A4BC0-9E60-4D4D-9AD1-4B89B86816CC}" destId="{4B3D4827-B8FF-4853-BCB1-9C669F65F9E0}" srcOrd="0" destOrd="0" presId="urn:microsoft.com/office/officeart/2008/layout/LinedList"/>
    <dgm:cxn modelId="{ED1BC34A-AF2A-4CBF-8FB3-34EB7D453EDD}" type="presOf" srcId="{0046BC35-C90C-4C26-ADB1-3D8D2F623AC9}" destId="{D99C4055-AEEC-4D1F-9758-0E55BBF7F16F}" srcOrd="0" destOrd="0" presId="urn:microsoft.com/office/officeart/2008/layout/LinedList"/>
    <dgm:cxn modelId="{B57A3BB9-299D-4769-B3C2-6863ECF9C7B0}" type="presOf" srcId="{DFCB52C5-1667-4FC4-B5DF-FF2004727EDE}" destId="{790CB1EA-42DA-414C-9331-E9FB3A55BA26}" srcOrd="0" destOrd="0" presId="urn:microsoft.com/office/officeart/2008/layout/LinedList"/>
    <dgm:cxn modelId="{9D10C0FF-47BE-4797-B236-550A69D18551}" type="presOf" srcId="{59733159-BF96-4C4E-831D-DFBAE24264AD}" destId="{E228320E-DFF8-48E4-AAE7-EB2CE1BD486C}" srcOrd="0" destOrd="0" presId="urn:microsoft.com/office/officeart/2008/layout/LinedList"/>
    <dgm:cxn modelId="{0B6CF02A-4A87-4CF7-8140-E469789CCE9F}" type="presParOf" srcId="{D99C4055-AEEC-4D1F-9758-0E55BBF7F16F}" destId="{C41BC3D9-E3F3-48CA-81E8-A0D39EA56554}" srcOrd="0" destOrd="0" presId="urn:microsoft.com/office/officeart/2008/layout/LinedList"/>
    <dgm:cxn modelId="{549CE049-3123-4346-9BDF-0A7E9B954D2C}" type="presParOf" srcId="{D99C4055-AEEC-4D1F-9758-0E55BBF7F16F}" destId="{D1D9E7A1-1B68-4FB7-A75A-C4C3E7C4B014}" srcOrd="1" destOrd="0" presId="urn:microsoft.com/office/officeart/2008/layout/LinedList"/>
    <dgm:cxn modelId="{90525B0A-5B5E-4DA1-A4F6-D250EBC3CC91}" type="presParOf" srcId="{D1D9E7A1-1B68-4FB7-A75A-C4C3E7C4B014}" destId="{06E0261C-C1AB-4148-A52F-E9EC0B412404}" srcOrd="0" destOrd="0" presId="urn:microsoft.com/office/officeart/2008/layout/LinedList"/>
    <dgm:cxn modelId="{E75B9699-282A-46A4-825D-09445A238D7D}" type="presParOf" srcId="{D1D9E7A1-1B68-4FB7-A75A-C4C3E7C4B014}" destId="{BFC6ACED-C650-498B-8B86-74C47653F0D1}" srcOrd="1" destOrd="0" presId="urn:microsoft.com/office/officeart/2008/layout/LinedList"/>
    <dgm:cxn modelId="{CCA202FC-21B1-49A0-A408-3065D4A0D6CB}" type="presParOf" srcId="{D99C4055-AEEC-4D1F-9758-0E55BBF7F16F}" destId="{D307D91C-E0EF-446D-8F6E-36DD9D835096}" srcOrd="2" destOrd="0" presId="urn:microsoft.com/office/officeart/2008/layout/LinedList"/>
    <dgm:cxn modelId="{CF71A322-30CC-4BFA-AE47-2E8995100150}" type="presParOf" srcId="{D99C4055-AEEC-4D1F-9758-0E55BBF7F16F}" destId="{A06C9CEC-4C20-4204-B56A-6288579E97E4}" srcOrd="3" destOrd="0" presId="urn:microsoft.com/office/officeart/2008/layout/LinedList"/>
    <dgm:cxn modelId="{395E348E-8B80-4DA9-9F48-52FE27ED0ED1}" type="presParOf" srcId="{A06C9CEC-4C20-4204-B56A-6288579E97E4}" destId="{4B3D4827-B8FF-4853-BCB1-9C669F65F9E0}" srcOrd="0" destOrd="0" presId="urn:microsoft.com/office/officeart/2008/layout/LinedList"/>
    <dgm:cxn modelId="{C7EE51A9-0CE5-4BE7-B179-C53653D300F2}" type="presParOf" srcId="{A06C9CEC-4C20-4204-B56A-6288579E97E4}" destId="{C935BCB9-47E7-4442-B799-053CC44C4897}" srcOrd="1" destOrd="0" presId="urn:microsoft.com/office/officeart/2008/layout/LinedList"/>
    <dgm:cxn modelId="{87B2A44A-3AD1-44F1-9D3D-BA8A71E32B74}" type="presParOf" srcId="{D99C4055-AEEC-4D1F-9758-0E55BBF7F16F}" destId="{7A828B2A-97F8-4F6D-A335-6D22C4D0C79B}" srcOrd="4" destOrd="0" presId="urn:microsoft.com/office/officeart/2008/layout/LinedList"/>
    <dgm:cxn modelId="{FAA9300B-C5B9-4A7E-9847-08A461DAF9E7}" type="presParOf" srcId="{D99C4055-AEEC-4D1F-9758-0E55BBF7F16F}" destId="{FC30916E-478D-4B93-A184-E07F33E181D0}" srcOrd="5" destOrd="0" presId="urn:microsoft.com/office/officeart/2008/layout/LinedList"/>
    <dgm:cxn modelId="{793F7565-6C8C-46B2-82EA-96F14926CDBC}" type="presParOf" srcId="{FC30916E-478D-4B93-A184-E07F33E181D0}" destId="{790CB1EA-42DA-414C-9331-E9FB3A55BA26}" srcOrd="0" destOrd="0" presId="urn:microsoft.com/office/officeart/2008/layout/LinedList"/>
    <dgm:cxn modelId="{E94EEC43-EAF6-4817-B69F-C62580752275}" type="presParOf" srcId="{FC30916E-478D-4B93-A184-E07F33E181D0}" destId="{CE65138C-7951-4343-A35F-322459A3A21E}" srcOrd="1" destOrd="0" presId="urn:microsoft.com/office/officeart/2008/layout/LinedList"/>
    <dgm:cxn modelId="{C47D5DDC-B5C5-4B42-8054-4ECCA5BF7845}" type="presParOf" srcId="{D99C4055-AEEC-4D1F-9758-0E55BBF7F16F}" destId="{4E461AA4-6248-4A05-8C28-A4F87C20ACD0}" srcOrd="6" destOrd="0" presId="urn:microsoft.com/office/officeart/2008/layout/LinedList"/>
    <dgm:cxn modelId="{3126E9C6-A178-4FE4-A6A3-667703EEF950}" type="presParOf" srcId="{D99C4055-AEEC-4D1F-9758-0E55BBF7F16F}" destId="{D0449933-33DC-41C5-BBD4-27CBBC9A09EF}" srcOrd="7" destOrd="0" presId="urn:microsoft.com/office/officeart/2008/layout/LinedList"/>
    <dgm:cxn modelId="{FBF4FC7D-3458-44F9-AD73-66D0CE161397}" type="presParOf" srcId="{D0449933-33DC-41C5-BBD4-27CBBC9A09EF}" destId="{E228320E-DFF8-48E4-AAE7-EB2CE1BD486C}" srcOrd="0" destOrd="0" presId="urn:microsoft.com/office/officeart/2008/layout/LinedList"/>
    <dgm:cxn modelId="{0C686EE5-C147-4CFF-B92D-2E4E38237FA0}" type="presParOf" srcId="{D0449933-33DC-41C5-BBD4-27CBBC9A09EF}" destId="{2D142809-0387-41D4-AF03-EFEF0F2DCBD9}"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722A943D-9E1A-4A10-8ED2-A4E141B25661}"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78D6AF4-9FA1-4D0C-BCDA-235595C31FBE}">
      <dgm:prSet custT="1"/>
      <dgm:spPr/>
      <dgm:t>
        <a:bodyPr/>
        <a:lstStyle/>
        <a:p>
          <a:pPr algn="ctr"/>
          <a:r>
            <a:rPr lang="en-US" sz="2400" baseline="0"/>
            <a:t>Unique name</a:t>
          </a:r>
          <a:endParaRPr lang="en-US" sz="2400"/>
        </a:p>
      </dgm:t>
    </dgm:pt>
    <dgm:pt modelId="{52998DEE-538F-4375-A9C6-0034C644D933}" type="parTrans" cxnId="{74DFFA91-51C6-4776-AAE9-5094CD1800CB}">
      <dgm:prSet/>
      <dgm:spPr/>
      <dgm:t>
        <a:bodyPr/>
        <a:lstStyle/>
        <a:p>
          <a:pPr algn="ctr"/>
          <a:endParaRPr lang="en-US" sz="2400"/>
        </a:p>
      </dgm:t>
    </dgm:pt>
    <dgm:pt modelId="{8E5603C2-5AD7-4EAC-9F8B-C8DBEBB9154E}" type="sibTrans" cxnId="{74DFFA91-51C6-4776-AAE9-5094CD1800CB}">
      <dgm:prSet/>
      <dgm:spPr/>
      <dgm:t>
        <a:bodyPr/>
        <a:lstStyle/>
        <a:p>
          <a:pPr algn="ctr"/>
          <a:endParaRPr lang="en-US" sz="2400"/>
        </a:p>
      </dgm:t>
    </dgm:pt>
    <dgm:pt modelId="{38AA8FFF-E644-4659-81B9-C1645DA966D7}">
      <dgm:prSet custT="1"/>
      <dgm:spPr/>
      <dgm:t>
        <a:bodyPr/>
        <a:lstStyle/>
        <a:p>
          <a:pPr algn="ctr"/>
          <a:r>
            <a:rPr lang="en-US" sz="2400" baseline="0"/>
            <a:t>Description</a:t>
          </a:r>
          <a:endParaRPr lang="en-US" sz="2400"/>
        </a:p>
      </dgm:t>
    </dgm:pt>
    <dgm:pt modelId="{9E900E3E-1260-4971-BD6E-34D7ED181A9C}" type="parTrans" cxnId="{493986F4-7D5F-47FB-A269-F2CD0378E10A}">
      <dgm:prSet/>
      <dgm:spPr/>
      <dgm:t>
        <a:bodyPr/>
        <a:lstStyle/>
        <a:p>
          <a:pPr algn="ctr"/>
          <a:endParaRPr lang="en-US" sz="2400"/>
        </a:p>
      </dgm:t>
    </dgm:pt>
    <dgm:pt modelId="{98CB09E8-A718-4305-B81E-787BE3AB4571}" type="sibTrans" cxnId="{493986F4-7D5F-47FB-A269-F2CD0378E10A}">
      <dgm:prSet/>
      <dgm:spPr/>
      <dgm:t>
        <a:bodyPr/>
        <a:lstStyle/>
        <a:p>
          <a:pPr algn="ctr"/>
          <a:endParaRPr lang="en-US" sz="2400"/>
        </a:p>
      </dgm:t>
    </dgm:pt>
    <dgm:pt modelId="{D9ABECB8-738D-4814-B163-7F7A878ACA4D}">
      <dgm:prSet custT="1"/>
      <dgm:spPr/>
      <dgm:t>
        <a:bodyPr/>
        <a:lstStyle/>
        <a:p>
          <a:pPr algn="ctr"/>
          <a:r>
            <a:rPr lang="en-US" sz="2400" baseline="0"/>
            <a:t>Private </a:t>
          </a:r>
          <a:r>
            <a:rPr lang="en-US" sz="2400" i="1" baseline="0"/>
            <a:t>or</a:t>
          </a:r>
          <a:r>
            <a:rPr lang="en-US" sz="2400" baseline="0"/>
            <a:t> Public</a:t>
          </a:r>
          <a:endParaRPr lang="en-US" sz="2400"/>
        </a:p>
      </dgm:t>
    </dgm:pt>
    <dgm:pt modelId="{36BA6016-BA35-4352-BE69-B629FA75D482}" type="parTrans" cxnId="{320BCF46-3145-4E1C-97D5-6DC31B4BCD18}">
      <dgm:prSet/>
      <dgm:spPr/>
      <dgm:t>
        <a:bodyPr/>
        <a:lstStyle/>
        <a:p>
          <a:pPr algn="ctr"/>
          <a:endParaRPr lang="en-US" sz="2400"/>
        </a:p>
      </dgm:t>
    </dgm:pt>
    <dgm:pt modelId="{BD476E75-989A-4914-B5E4-A1C7C4DE385B}" type="sibTrans" cxnId="{320BCF46-3145-4E1C-97D5-6DC31B4BCD18}">
      <dgm:prSet/>
      <dgm:spPr/>
      <dgm:t>
        <a:bodyPr/>
        <a:lstStyle/>
        <a:p>
          <a:pPr algn="ctr"/>
          <a:endParaRPr lang="en-US" sz="2400"/>
        </a:p>
      </dgm:t>
    </dgm:pt>
    <dgm:pt modelId="{69FBBEF5-211D-4E9C-85AF-6E089A7EAE13}">
      <dgm:prSet custT="1"/>
      <dgm:spPr/>
      <dgm:t>
        <a:bodyPr/>
        <a:lstStyle/>
        <a:p>
          <a:pPr algn="ctr"/>
          <a:r>
            <a:rPr lang="en-US" sz="2400" baseline="0"/>
            <a:t>Optional README </a:t>
          </a:r>
          <a:endParaRPr lang="en-US" sz="2400"/>
        </a:p>
      </dgm:t>
    </dgm:pt>
    <dgm:pt modelId="{0E3ECD6E-70E6-409B-89EF-427340609265}" type="parTrans" cxnId="{D751FBC0-17B6-4BFF-8EAF-9F375A6C8739}">
      <dgm:prSet/>
      <dgm:spPr/>
      <dgm:t>
        <a:bodyPr/>
        <a:lstStyle/>
        <a:p>
          <a:pPr algn="ctr"/>
          <a:endParaRPr lang="en-US" sz="2400"/>
        </a:p>
      </dgm:t>
    </dgm:pt>
    <dgm:pt modelId="{F4225E00-3A36-49AE-B987-6D14AA7470E2}" type="sibTrans" cxnId="{D751FBC0-17B6-4BFF-8EAF-9F375A6C8739}">
      <dgm:prSet/>
      <dgm:spPr/>
      <dgm:t>
        <a:bodyPr/>
        <a:lstStyle/>
        <a:p>
          <a:pPr algn="ctr"/>
          <a:endParaRPr lang="en-US" sz="2400"/>
        </a:p>
      </dgm:t>
    </dgm:pt>
    <dgm:pt modelId="{D4E5B664-A20C-4BB3-A902-44A70DADF345}">
      <dgm:prSet custT="1"/>
      <dgm:spPr/>
      <dgm:t>
        <a:bodyPr/>
        <a:lstStyle/>
        <a:p>
          <a:pPr algn="ctr"/>
          <a:r>
            <a:rPr lang="en-US" sz="2400" baseline="0"/>
            <a:t>Option </a:t>
          </a:r>
          <a:r>
            <a:rPr lang="en-US" sz="2400" baseline="0" err="1"/>
            <a:t>gitignore</a:t>
          </a:r>
          <a:endParaRPr lang="en-US" sz="2400"/>
        </a:p>
      </dgm:t>
    </dgm:pt>
    <dgm:pt modelId="{4C926FD6-6E85-4310-A286-F59722E431F9}" type="parTrans" cxnId="{6A0CC119-664E-4265-836E-453956324BFE}">
      <dgm:prSet/>
      <dgm:spPr/>
      <dgm:t>
        <a:bodyPr/>
        <a:lstStyle/>
        <a:p>
          <a:pPr algn="ctr"/>
          <a:endParaRPr lang="en-US" sz="2400"/>
        </a:p>
      </dgm:t>
    </dgm:pt>
    <dgm:pt modelId="{5983C029-0E5F-458A-8DEC-31E9FDD52EA1}" type="sibTrans" cxnId="{6A0CC119-664E-4265-836E-453956324BFE}">
      <dgm:prSet/>
      <dgm:spPr/>
      <dgm:t>
        <a:bodyPr/>
        <a:lstStyle/>
        <a:p>
          <a:pPr algn="ctr"/>
          <a:endParaRPr lang="en-US" sz="2400"/>
        </a:p>
      </dgm:t>
    </dgm:pt>
    <dgm:pt modelId="{18213206-B33D-4930-9F5E-3499E8399974}" type="pres">
      <dgm:prSet presAssocID="{722A943D-9E1A-4A10-8ED2-A4E141B25661}" presName="vert0" presStyleCnt="0">
        <dgm:presLayoutVars>
          <dgm:dir/>
          <dgm:animOne val="branch"/>
          <dgm:animLvl val="lvl"/>
        </dgm:presLayoutVars>
      </dgm:prSet>
      <dgm:spPr/>
    </dgm:pt>
    <dgm:pt modelId="{B15EF89F-5D1E-4E31-A78A-3DDF1EB304C7}" type="pres">
      <dgm:prSet presAssocID="{878D6AF4-9FA1-4D0C-BCDA-235595C31FBE}" presName="thickLine" presStyleLbl="alignNode1" presStyleIdx="0" presStyleCnt="5"/>
      <dgm:spPr/>
    </dgm:pt>
    <dgm:pt modelId="{89B3B460-3E41-4DEB-BC32-71AAAEAAE688}" type="pres">
      <dgm:prSet presAssocID="{878D6AF4-9FA1-4D0C-BCDA-235595C31FBE}" presName="horz1" presStyleCnt="0"/>
      <dgm:spPr/>
    </dgm:pt>
    <dgm:pt modelId="{322F9DC9-5EB2-475E-800A-FED9B580D1DC}" type="pres">
      <dgm:prSet presAssocID="{878D6AF4-9FA1-4D0C-BCDA-235595C31FBE}" presName="tx1" presStyleLbl="revTx" presStyleIdx="0" presStyleCnt="5"/>
      <dgm:spPr/>
    </dgm:pt>
    <dgm:pt modelId="{AE5F51A1-DE8C-4B4C-9DF8-1044B5FA1204}" type="pres">
      <dgm:prSet presAssocID="{878D6AF4-9FA1-4D0C-BCDA-235595C31FBE}" presName="vert1" presStyleCnt="0"/>
      <dgm:spPr/>
    </dgm:pt>
    <dgm:pt modelId="{4C8C590B-837F-43D1-AD84-A1B93F08D4F4}" type="pres">
      <dgm:prSet presAssocID="{38AA8FFF-E644-4659-81B9-C1645DA966D7}" presName="thickLine" presStyleLbl="alignNode1" presStyleIdx="1" presStyleCnt="5"/>
      <dgm:spPr/>
    </dgm:pt>
    <dgm:pt modelId="{9A6BC5EB-320E-4018-BD4A-5CF213F2BCC0}" type="pres">
      <dgm:prSet presAssocID="{38AA8FFF-E644-4659-81B9-C1645DA966D7}" presName="horz1" presStyleCnt="0"/>
      <dgm:spPr/>
    </dgm:pt>
    <dgm:pt modelId="{2FC824D5-E9C1-4A37-937A-128A096ADE2C}" type="pres">
      <dgm:prSet presAssocID="{38AA8FFF-E644-4659-81B9-C1645DA966D7}" presName="tx1" presStyleLbl="revTx" presStyleIdx="1" presStyleCnt="5"/>
      <dgm:spPr/>
    </dgm:pt>
    <dgm:pt modelId="{0DEC0F04-E51C-4C0A-92A8-C21B09BCCCEB}" type="pres">
      <dgm:prSet presAssocID="{38AA8FFF-E644-4659-81B9-C1645DA966D7}" presName="vert1" presStyleCnt="0"/>
      <dgm:spPr/>
    </dgm:pt>
    <dgm:pt modelId="{2525A35F-89D7-49B7-ACD2-E505F632CB9D}" type="pres">
      <dgm:prSet presAssocID="{D9ABECB8-738D-4814-B163-7F7A878ACA4D}" presName="thickLine" presStyleLbl="alignNode1" presStyleIdx="2" presStyleCnt="5"/>
      <dgm:spPr/>
    </dgm:pt>
    <dgm:pt modelId="{D278680F-405C-4FBB-91E9-30FE53C3EFA8}" type="pres">
      <dgm:prSet presAssocID="{D9ABECB8-738D-4814-B163-7F7A878ACA4D}" presName="horz1" presStyleCnt="0"/>
      <dgm:spPr/>
    </dgm:pt>
    <dgm:pt modelId="{2B344BB3-A2A8-4A1D-AF02-B4A964490AB5}" type="pres">
      <dgm:prSet presAssocID="{D9ABECB8-738D-4814-B163-7F7A878ACA4D}" presName="tx1" presStyleLbl="revTx" presStyleIdx="2" presStyleCnt="5"/>
      <dgm:spPr/>
    </dgm:pt>
    <dgm:pt modelId="{D54772B7-3EC4-4029-91E8-2901B9FA5852}" type="pres">
      <dgm:prSet presAssocID="{D9ABECB8-738D-4814-B163-7F7A878ACA4D}" presName="vert1" presStyleCnt="0"/>
      <dgm:spPr/>
    </dgm:pt>
    <dgm:pt modelId="{DEC6C2E7-3E0D-4797-919A-88B4AF85E4A7}" type="pres">
      <dgm:prSet presAssocID="{69FBBEF5-211D-4E9C-85AF-6E089A7EAE13}" presName="thickLine" presStyleLbl="alignNode1" presStyleIdx="3" presStyleCnt="5"/>
      <dgm:spPr/>
    </dgm:pt>
    <dgm:pt modelId="{BA14D6BF-5D79-4D7D-9022-E3AF50FE1FDA}" type="pres">
      <dgm:prSet presAssocID="{69FBBEF5-211D-4E9C-85AF-6E089A7EAE13}" presName="horz1" presStyleCnt="0"/>
      <dgm:spPr/>
    </dgm:pt>
    <dgm:pt modelId="{5511889D-729E-428A-A742-4ACA61B9B9F4}" type="pres">
      <dgm:prSet presAssocID="{69FBBEF5-211D-4E9C-85AF-6E089A7EAE13}" presName="tx1" presStyleLbl="revTx" presStyleIdx="3" presStyleCnt="5"/>
      <dgm:spPr/>
    </dgm:pt>
    <dgm:pt modelId="{181DA732-1E85-43E6-84A8-F990E2D86D0D}" type="pres">
      <dgm:prSet presAssocID="{69FBBEF5-211D-4E9C-85AF-6E089A7EAE13}" presName="vert1" presStyleCnt="0"/>
      <dgm:spPr/>
    </dgm:pt>
    <dgm:pt modelId="{E5A93AE8-FC31-4E08-8EBA-A125CC0B014F}" type="pres">
      <dgm:prSet presAssocID="{D4E5B664-A20C-4BB3-A902-44A70DADF345}" presName="thickLine" presStyleLbl="alignNode1" presStyleIdx="4" presStyleCnt="5"/>
      <dgm:spPr/>
    </dgm:pt>
    <dgm:pt modelId="{DA8737F7-4C55-4457-8027-3057D749F824}" type="pres">
      <dgm:prSet presAssocID="{D4E5B664-A20C-4BB3-A902-44A70DADF345}" presName="horz1" presStyleCnt="0"/>
      <dgm:spPr/>
    </dgm:pt>
    <dgm:pt modelId="{4A30C046-CB1E-442B-AA3A-3E7D3F7A9C72}" type="pres">
      <dgm:prSet presAssocID="{D4E5B664-A20C-4BB3-A902-44A70DADF345}" presName="tx1" presStyleLbl="revTx" presStyleIdx="4" presStyleCnt="5"/>
      <dgm:spPr/>
    </dgm:pt>
    <dgm:pt modelId="{645009BE-FFA6-4221-9F51-811389A803DA}" type="pres">
      <dgm:prSet presAssocID="{D4E5B664-A20C-4BB3-A902-44A70DADF345}" presName="vert1" presStyleCnt="0"/>
      <dgm:spPr/>
    </dgm:pt>
  </dgm:ptLst>
  <dgm:cxnLst>
    <dgm:cxn modelId="{00C78C0C-8F42-4CBA-8BC5-3A8E8B6AC2DB}" type="presOf" srcId="{722A943D-9E1A-4A10-8ED2-A4E141B25661}" destId="{18213206-B33D-4930-9F5E-3499E8399974}" srcOrd="0" destOrd="0" presId="urn:microsoft.com/office/officeart/2008/layout/LinedList"/>
    <dgm:cxn modelId="{9C755B0D-83C3-432D-8091-ACD37F3653DC}" type="presOf" srcId="{878D6AF4-9FA1-4D0C-BCDA-235595C31FBE}" destId="{322F9DC9-5EB2-475E-800A-FED9B580D1DC}" srcOrd="0" destOrd="0" presId="urn:microsoft.com/office/officeart/2008/layout/LinedList"/>
    <dgm:cxn modelId="{6A0CC119-664E-4265-836E-453956324BFE}" srcId="{722A943D-9E1A-4A10-8ED2-A4E141B25661}" destId="{D4E5B664-A20C-4BB3-A902-44A70DADF345}" srcOrd="4" destOrd="0" parTransId="{4C926FD6-6E85-4310-A286-F59722E431F9}" sibTransId="{5983C029-0E5F-458A-8DEC-31E9FDD52EA1}"/>
    <dgm:cxn modelId="{675A711E-5299-4C0F-9E3C-364222A01C3D}" type="presOf" srcId="{D4E5B664-A20C-4BB3-A902-44A70DADF345}" destId="{4A30C046-CB1E-442B-AA3A-3E7D3F7A9C72}" srcOrd="0" destOrd="0" presId="urn:microsoft.com/office/officeart/2008/layout/LinedList"/>
    <dgm:cxn modelId="{0815B22E-963A-4BB9-AC72-4ABBD89F5465}" type="presOf" srcId="{38AA8FFF-E644-4659-81B9-C1645DA966D7}" destId="{2FC824D5-E9C1-4A37-937A-128A096ADE2C}" srcOrd="0" destOrd="0" presId="urn:microsoft.com/office/officeart/2008/layout/LinedList"/>
    <dgm:cxn modelId="{FA7EE942-9206-4E95-BDFB-39224B365286}" type="presOf" srcId="{D9ABECB8-738D-4814-B163-7F7A878ACA4D}" destId="{2B344BB3-A2A8-4A1D-AF02-B4A964490AB5}" srcOrd="0" destOrd="0" presId="urn:microsoft.com/office/officeart/2008/layout/LinedList"/>
    <dgm:cxn modelId="{320BCF46-3145-4E1C-97D5-6DC31B4BCD18}" srcId="{722A943D-9E1A-4A10-8ED2-A4E141B25661}" destId="{D9ABECB8-738D-4814-B163-7F7A878ACA4D}" srcOrd="2" destOrd="0" parTransId="{36BA6016-BA35-4352-BE69-B629FA75D482}" sibTransId="{BD476E75-989A-4914-B5E4-A1C7C4DE385B}"/>
    <dgm:cxn modelId="{39F3206C-80FA-4A3C-A09D-F1C42606E858}" type="presOf" srcId="{69FBBEF5-211D-4E9C-85AF-6E089A7EAE13}" destId="{5511889D-729E-428A-A742-4ACA61B9B9F4}" srcOrd="0" destOrd="0" presId="urn:microsoft.com/office/officeart/2008/layout/LinedList"/>
    <dgm:cxn modelId="{74DFFA91-51C6-4776-AAE9-5094CD1800CB}" srcId="{722A943D-9E1A-4A10-8ED2-A4E141B25661}" destId="{878D6AF4-9FA1-4D0C-BCDA-235595C31FBE}" srcOrd="0" destOrd="0" parTransId="{52998DEE-538F-4375-A9C6-0034C644D933}" sibTransId="{8E5603C2-5AD7-4EAC-9F8B-C8DBEBB9154E}"/>
    <dgm:cxn modelId="{D751FBC0-17B6-4BFF-8EAF-9F375A6C8739}" srcId="{722A943D-9E1A-4A10-8ED2-A4E141B25661}" destId="{69FBBEF5-211D-4E9C-85AF-6E089A7EAE13}" srcOrd="3" destOrd="0" parTransId="{0E3ECD6E-70E6-409B-89EF-427340609265}" sibTransId="{F4225E00-3A36-49AE-B987-6D14AA7470E2}"/>
    <dgm:cxn modelId="{493986F4-7D5F-47FB-A269-F2CD0378E10A}" srcId="{722A943D-9E1A-4A10-8ED2-A4E141B25661}" destId="{38AA8FFF-E644-4659-81B9-C1645DA966D7}" srcOrd="1" destOrd="0" parTransId="{9E900E3E-1260-4971-BD6E-34D7ED181A9C}" sibTransId="{98CB09E8-A718-4305-B81E-787BE3AB4571}"/>
    <dgm:cxn modelId="{7DA63D59-5273-4BC0-A3BF-295C38B944A3}" type="presParOf" srcId="{18213206-B33D-4930-9F5E-3499E8399974}" destId="{B15EF89F-5D1E-4E31-A78A-3DDF1EB304C7}" srcOrd="0" destOrd="0" presId="urn:microsoft.com/office/officeart/2008/layout/LinedList"/>
    <dgm:cxn modelId="{E5265B40-028F-4FAB-94E5-2435F4C5A37F}" type="presParOf" srcId="{18213206-B33D-4930-9F5E-3499E8399974}" destId="{89B3B460-3E41-4DEB-BC32-71AAAEAAE688}" srcOrd="1" destOrd="0" presId="urn:microsoft.com/office/officeart/2008/layout/LinedList"/>
    <dgm:cxn modelId="{C9635755-B90F-4140-9803-3508658D6734}" type="presParOf" srcId="{89B3B460-3E41-4DEB-BC32-71AAAEAAE688}" destId="{322F9DC9-5EB2-475E-800A-FED9B580D1DC}" srcOrd="0" destOrd="0" presId="urn:microsoft.com/office/officeart/2008/layout/LinedList"/>
    <dgm:cxn modelId="{8A3D7AFD-B225-4BE3-943E-26797B262AC3}" type="presParOf" srcId="{89B3B460-3E41-4DEB-BC32-71AAAEAAE688}" destId="{AE5F51A1-DE8C-4B4C-9DF8-1044B5FA1204}" srcOrd="1" destOrd="0" presId="urn:microsoft.com/office/officeart/2008/layout/LinedList"/>
    <dgm:cxn modelId="{6D17575F-6BB0-4749-A88E-1D0F00DAEFC9}" type="presParOf" srcId="{18213206-B33D-4930-9F5E-3499E8399974}" destId="{4C8C590B-837F-43D1-AD84-A1B93F08D4F4}" srcOrd="2" destOrd="0" presId="urn:microsoft.com/office/officeart/2008/layout/LinedList"/>
    <dgm:cxn modelId="{BD80F3CB-820A-4E3C-B9FA-D2FFA2470068}" type="presParOf" srcId="{18213206-B33D-4930-9F5E-3499E8399974}" destId="{9A6BC5EB-320E-4018-BD4A-5CF213F2BCC0}" srcOrd="3" destOrd="0" presId="urn:microsoft.com/office/officeart/2008/layout/LinedList"/>
    <dgm:cxn modelId="{2435B510-ECEE-4DE2-8022-4B34FC5BF240}" type="presParOf" srcId="{9A6BC5EB-320E-4018-BD4A-5CF213F2BCC0}" destId="{2FC824D5-E9C1-4A37-937A-128A096ADE2C}" srcOrd="0" destOrd="0" presId="urn:microsoft.com/office/officeart/2008/layout/LinedList"/>
    <dgm:cxn modelId="{06B6DEA7-810D-4801-BA5E-CB908321E070}" type="presParOf" srcId="{9A6BC5EB-320E-4018-BD4A-5CF213F2BCC0}" destId="{0DEC0F04-E51C-4C0A-92A8-C21B09BCCCEB}" srcOrd="1" destOrd="0" presId="urn:microsoft.com/office/officeart/2008/layout/LinedList"/>
    <dgm:cxn modelId="{A99EAC8F-7A8C-42EE-960B-3B8EE9A659F6}" type="presParOf" srcId="{18213206-B33D-4930-9F5E-3499E8399974}" destId="{2525A35F-89D7-49B7-ACD2-E505F632CB9D}" srcOrd="4" destOrd="0" presId="urn:microsoft.com/office/officeart/2008/layout/LinedList"/>
    <dgm:cxn modelId="{C69F68A3-6F39-4850-84F6-7061FAE5D264}" type="presParOf" srcId="{18213206-B33D-4930-9F5E-3499E8399974}" destId="{D278680F-405C-4FBB-91E9-30FE53C3EFA8}" srcOrd="5" destOrd="0" presId="urn:microsoft.com/office/officeart/2008/layout/LinedList"/>
    <dgm:cxn modelId="{74D502E4-79F5-4812-9B14-DE3CDB8B833D}" type="presParOf" srcId="{D278680F-405C-4FBB-91E9-30FE53C3EFA8}" destId="{2B344BB3-A2A8-4A1D-AF02-B4A964490AB5}" srcOrd="0" destOrd="0" presId="urn:microsoft.com/office/officeart/2008/layout/LinedList"/>
    <dgm:cxn modelId="{18F45B53-7C7D-4841-8287-E087B63CC5C5}" type="presParOf" srcId="{D278680F-405C-4FBB-91E9-30FE53C3EFA8}" destId="{D54772B7-3EC4-4029-91E8-2901B9FA5852}" srcOrd="1" destOrd="0" presId="urn:microsoft.com/office/officeart/2008/layout/LinedList"/>
    <dgm:cxn modelId="{A65BABFE-624F-43E8-B5A0-F5AEE3468F53}" type="presParOf" srcId="{18213206-B33D-4930-9F5E-3499E8399974}" destId="{DEC6C2E7-3E0D-4797-919A-88B4AF85E4A7}" srcOrd="6" destOrd="0" presId="urn:microsoft.com/office/officeart/2008/layout/LinedList"/>
    <dgm:cxn modelId="{D4C04703-9C5B-4A07-9593-10AA8C0FFEFC}" type="presParOf" srcId="{18213206-B33D-4930-9F5E-3499E8399974}" destId="{BA14D6BF-5D79-4D7D-9022-E3AF50FE1FDA}" srcOrd="7" destOrd="0" presId="urn:microsoft.com/office/officeart/2008/layout/LinedList"/>
    <dgm:cxn modelId="{7742A165-7C00-41D7-AA65-687529C577BA}" type="presParOf" srcId="{BA14D6BF-5D79-4D7D-9022-E3AF50FE1FDA}" destId="{5511889D-729E-428A-A742-4ACA61B9B9F4}" srcOrd="0" destOrd="0" presId="urn:microsoft.com/office/officeart/2008/layout/LinedList"/>
    <dgm:cxn modelId="{B98AE4AB-A71F-4533-A78D-AFDA5B66E059}" type="presParOf" srcId="{BA14D6BF-5D79-4D7D-9022-E3AF50FE1FDA}" destId="{181DA732-1E85-43E6-84A8-F990E2D86D0D}" srcOrd="1" destOrd="0" presId="urn:microsoft.com/office/officeart/2008/layout/LinedList"/>
    <dgm:cxn modelId="{AC1CC62F-495A-42AC-B9F2-5DA20167C529}" type="presParOf" srcId="{18213206-B33D-4930-9F5E-3499E8399974}" destId="{E5A93AE8-FC31-4E08-8EBA-A125CC0B014F}" srcOrd="8" destOrd="0" presId="urn:microsoft.com/office/officeart/2008/layout/LinedList"/>
    <dgm:cxn modelId="{1DF2268A-D342-4F4B-BC17-6F484CEE4CC5}" type="presParOf" srcId="{18213206-B33D-4930-9F5E-3499E8399974}" destId="{DA8737F7-4C55-4457-8027-3057D749F824}" srcOrd="9" destOrd="0" presId="urn:microsoft.com/office/officeart/2008/layout/LinedList"/>
    <dgm:cxn modelId="{C7FC0870-645D-4D17-A8E8-0D77810F4436}" type="presParOf" srcId="{DA8737F7-4C55-4457-8027-3057D749F824}" destId="{4A30C046-CB1E-442B-AA3A-3E7D3F7A9C72}" srcOrd="0" destOrd="0" presId="urn:microsoft.com/office/officeart/2008/layout/LinedList"/>
    <dgm:cxn modelId="{9182CE5C-F75F-491F-ACBE-1F7EC37D9430}" type="presParOf" srcId="{DA8737F7-4C55-4457-8027-3057D749F824}" destId="{645009BE-FFA6-4221-9F51-811389A803DA}"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494D203-928E-4B3F-8413-8CEF41C6F906}"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F58D8ACA-26DE-4636-8DE9-DA21BB1D5B8A}">
      <dgm:prSet custT="1"/>
      <dgm:spPr/>
      <dgm:t>
        <a:bodyPr/>
        <a:lstStyle/>
        <a:p>
          <a:r>
            <a:rPr lang="en-US" sz="2400" baseline="0"/>
            <a:t>Obtain a </a:t>
          </a:r>
          <a:r>
            <a:rPr lang="en-US" sz="2400" b="1" baseline="0"/>
            <a:t>copy</a:t>
          </a:r>
          <a:r>
            <a:rPr lang="en-US" sz="2400" baseline="0"/>
            <a:t> of an already created project</a:t>
          </a:r>
          <a:endParaRPr lang="en-US" sz="2400"/>
        </a:p>
      </dgm:t>
    </dgm:pt>
    <dgm:pt modelId="{FA50FC52-D3E5-4E98-93C3-762CFBBADF9B}" type="parTrans" cxnId="{AD84C56B-35BA-4248-91E9-B1E1853F5C15}">
      <dgm:prSet/>
      <dgm:spPr/>
      <dgm:t>
        <a:bodyPr/>
        <a:lstStyle/>
        <a:p>
          <a:endParaRPr lang="en-US" sz="2400"/>
        </a:p>
      </dgm:t>
    </dgm:pt>
    <dgm:pt modelId="{91F58E0A-F1E1-4893-8BB8-A53DA3A714AB}" type="sibTrans" cxnId="{AD84C56B-35BA-4248-91E9-B1E1853F5C15}">
      <dgm:prSet/>
      <dgm:spPr/>
      <dgm:t>
        <a:bodyPr/>
        <a:lstStyle/>
        <a:p>
          <a:endParaRPr lang="en-US" sz="2400"/>
        </a:p>
      </dgm:t>
    </dgm:pt>
    <dgm:pt modelId="{379FEDC9-B14A-4DA5-B229-70334F02D0EF}">
      <dgm:prSet custT="1"/>
      <dgm:spPr/>
      <dgm:t>
        <a:bodyPr/>
        <a:lstStyle/>
        <a:p>
          <a:r>
            <a:rPr lang="en-US" sz="2400" baseline="0"/>
            <a:t>Generally, a </a:t>
          </a:r>
          <a:r>
            <a:rPr lang="en-US" sz="2400" b="1" baseline="0"/>
            <a:t>one-time</a:t>
          </a:r>
          <a:r>
            <a:rPr lang="en-US" sz="2400" baseline="0"/>
            <a:t> operation for a machine</a:t>
          </a:r>
          <a:endParaRPr lang="en-US" sz="2400"/>
        </a:p>
      </dgm:t>
    </dgm:pt>
    <dgm:pt modelId="{EACAFC6E-E34A-426E-A3BD-2E02D3ABF57C}" type="parTrans" cxnId="{03140714-6460-45F4-8D4E-8F3FED3D60CC}">
      <dgm:prSet/>
      <dgm:spPr/>
      <dgm:t>
        <a:bodyPr/>
        <a:lstStyle/>
        <a:p>
          <a:endParaRPr lang="en-US" sz="2400"/>
        </a:p>
      </dgm:t>
    </dgm:pt>
    <dgm:pt modelId="{48E610EF-A3A5-4A6F-B9D4-E603D884AA3E}" type="sibTrans" cxnId="{03140714-6460-45F4-8D4E-8F3FED3D60CC}">
      <dgm:prSet/>
      <dgm:spPr/>
      <dgm:t>
        <a:bodyPr/>
        <a:lstStyle/>
        <a:p>
          <a:endParaRPr lang="en-US" sz="2400"/>
        </a:p>
      </dgm:t>
    </dgm:pt>
    <dgm:pt modelId="{BB82310E-D94A-4AAB-B30C-DFFB9FF3A6F5}">
      <dgm:prSet custT="1"/>
      <dgm:spPr/>
      <dgm:t>
        <a:bodyPr/>
        <a:lstStyle/>
        <a:p>
          <a:r>
            <a:rPr lang="en-US" sz="2400" baseline="0"/>
            <a:t>Create and navigate to the </a:t>
          </a:r>
          <a:r>
            <a:rPr lang="en-US" sz="2400" b="1" baseline="0"/>
            <a:t>local folder </a:t>
          </a:r>
          <a:endParaRPr lang="en-US" sz="2400" b="1"/>
        </a:p>
      </dgm:t>
    </dgm:pt>
    <dgm:pt modelId="{1718A58A-B371-4E26-9503-4DA14BA72EA1}" type="parTrans" cxnId="{24EFA09B-251B-4BC9-85C7-40A490FE496B}">
      <dgm:prSet/>
      <dgm:spPr/>
      <dgm:t>
        <a:bodyPr/>
        <a:lstStyle/>
        <a:p>
          <a:endParaRPr lang="en-US" sz="2400"/>
        </a:p>
      </dgm:t>
    </dgm:pt>
    <dgm:pt modelId="{E4C0E847-DB3C-42FB-A908-F1ADD9D3A7B8}" type="sibTrans" cxnId="{24EFA09B-251B-4BC9-85C7-40A490FE496B}">
      <dgm:prSet/>
      <dgm:spPr/>
      <dgm:t>
        <a:bodyPr/>
        <a:lstStyle/>
        <a:p>
          <a:endParaRPr lang="en-US" sz="2400"/>
        </a:p>
      </dgm:t>
    </dgm:pt>
    <dgm:pt modelId="{4E3AB45F-3E13-4787-8B5F-518D7848D431}" type="pres">
      <dgm:prSet presAssocID="{5494D203-928E-4B3F-8413-8CEF41C6F906}" presName="Name0" presStyleCnt="0">
        <dgm:presLayoutVars>
          <dgm:dir/>
          <dgm:resizeHandles val="exact"/>
        </dgm:presLayoutVars>
      </dgm:prSet>
      <dgm:spPr/>
    </dgm:pt>
    <dgm:pt modelId="{66A93FA0-1E11-4C5D-90FA-5144835CD2CD}" type="pres">
      <dgm:prSet presAssocID="{F58D8ACA-26DE-4636-8DE9-DA21BB1D5B8A}" presName="compNode" presStyleCnt="0"/>
      <dgm:spPr/>
    </dgm:pt>
    <dgm:pt modelId="{B2ED68C9-6CD8-43D5-B5AC-EC6924A12609}" type="pres">
      <dgm:prSet presAssocID="{F58D8ACA-26DE-4636-8DE9-DA21BB1D5B8A}" presName="pictRect" presStyleLbl="node1" presStyleIdx="0" presStyleCnt="3" custScaleX="79888" custScaleY="79888" custLinFactNeighborY="13202"/>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Download from cloud with solid fill"/>
        </a:ext>
      </dgm:extLst>
    </dgm:pt>
    <dgm:pt modelId="{1296B648-3D2A-45DE-956B-F4A18DEE617B}" type="pres">
      <dgm:prSet presAssocID="{F58D8ACA-26DE-4636-8DE9-DA21BB1D5B8A}" presName="textRect" presStyleLbl="revTx" presStyleIdx="0" presStyleCnt="3">
        <dgm:presLayoutVars>
          <dgm:bulletEnabled val="1"/>
        </dgm:presLayoutVars>
      </dgm:prSet>
      <dgm:spPr/>
    </dgm:pt>
    <dgm:pt modelId="{C581C603-BE8C-4B99-AE32-BEC2D1022E67}" type="pres">
      <dgm:prSet presAssocID="{91F58E0A-F1E1-4893-8BB8-A53DA3A714AB}" presName="sibTrans" presStyleLbl="sibTrans2D1" presStyleIdx="0" presStyleCnt="0"/>
      <dgm:spPr/>
    </dgm:pt>
    <dgm:pt modelId="{11A02277-D544-4C72-91C8-BCE3E4D6A544}" type="pres">
      <dgm:prSet presAssocID="{379FEDC9-B14A-4DA5-B229-70334F02D0EF}" presName="compNode" presStyleCnt="0"/>
      <dgm:spPr/>
    </dgm:pt>
    <dgm:pt modelId="{E9667798-6DA7-4324-A1AD-47C1A5275EFE}" type="pres">
      <dgm:prSet presAssocID="{379FEDC9-B14A-4DA5-B229-70334F02D0EF}" presName="pictRect" presStyleLbl="node1" presStyleIdx="1" presStyleCnt="3" custScaleX="79888" custScaleY="79888" custLinFactNeighborY="13202"/>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Single gear with solid fill"/>
        </a:ext>
      </dgm:extLst>
    </dgm:pt>
    <dgm:pt modelId="{2634F22F-1D4B-4C27-AFAB-AFA4B18B5EB5}" type="pres">
      <dgm:prSet presAssocID="{379FEDC9-B14A-4DA5-B229-70334F02D0EF}" presName="textRect" presStyleLbl="revTx" presStyleIdx="1" presStyleCnt="3">
        <dgm:presLayoutVars>
          <dgm:bulletEnabled val="1"/>
        </dgm:presLayoutVars>
      </dgm:prSet>
      <dgm:spPr/>
    </dgm:pt>
    <dgm:pt modelId="{6557FBFA-F0F9-4823-975F-7BD3B69E7940}" type="pres">
      <dgm:prSet presAssocID="{48E610EF-A3A5-4A6F-B9D4-E603D884AA3E}" presName="sibTrans" presStyleLbl="sibTrans2D1" presStyleIdx="0" presStyleCnt="0"/>
      <dgm:spPr/>
    </dgm:pt>
    <dgm:pt modelId="{BE655247-57DD-42C7-A283-63044704DB87}" type="pres">
      <dgm:prSet presAssocID="{BB82310E-D94A-4AAB-B30C-DFFB9FF3A6F5}" presName="compNode" presStyleCnt="0"/>
      <dgm:spPr/>
    </dgm:pt>
    <dgm:pt modelId="{FB5ED1DC-A81C-45C0-B597-34BF709DC919}" type="pres">
      <dgm:prSet presAssocID="{BB82310E-D94A-4AAB-B30C-DFFB9FF3A6F5}" presName="pictRect" presStyleLbl="node1" presStyleIdx="2" presStyleCnt="3" custScaleX="79888" custScaleY="79888" custLinFactNeighborY="13202"/>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Open folder with solid fill"/>
        </a:ext>
      </dgm:extLst>
    </dgm:pt>
    <dgm:pt modelId="{EAE08792-7E15-416C-8D50-5BF4650BDDB1}" type="pres">
      <dgm:prSet presAssocID="{BB82310E-D94A-4AAB-B30C-DFFB9FF3A6F5}" presName="textRect" presStyleLbl="revTx" presStyleIdx="2" presStyleCnt="3">
        <dgm:presLayoutVars>
          <dgm:bulletEnabled val="1"/>
        </dgm:presLayoutVars>
      </dgm:prSet>
      <dgm:spPr/>
    </dgm:pt>
  </dgm:ptLst>
  <dgm:cxnLst>
    <dgm:cxn modelId="{03140714-6460-45F4-8D4E-8F3FED3D60CC}" srcId="{5494D203-928E-4B3F-8413-8CEF41C6F906}" destId="{379FEDC9-B14A-4DA5-B229-70334F02D0EF}" srcOrd="1" destOrd="0" parTransId="{EACAFC6E-E34A-426E-A3BD-2E02D3ABF57C}" sibTransId="{48E610EF-A3A5-4A6F-B9D4-E603D884AA3E}"/>
    <dgm:cxn modelId="{FD0F4416-1ED3-4E7F-AF30-C451B13D5DF2}" type="presOf" srcId="{379FEDC9-B14A-4DA5-B229-70334F02D0EF}" destId="{2634F22F-1D4B-4C27-AFAB-AFA4B18B5EB5}" srcOrd="0" destOrd="0" presId="urn:microsoft.com/office/officeart/2005/8/layout/pList1"/>
    <dgm:cxn modelId="{B0021629-0C31-4775-958B-ED4365EC9332}" type="presOf" srcId="{F58D8ACA-26DE-4636-8DE9-DA21BB1D5B8A}" destId="{1296B648-3D2A-45DE-956B-F4A18DEE617B}" srcOrd="0" destOrd="0" presId="urn:microsoft.com/office/officeart/2005/8/layout/pList1"/>
    <dgm:cxn modelId="{AD84C56B-35BA-4248-91E9-B1E1853F5C15}" srcId="{5494D203-928E-4B3F-8413-8CEF41C6F906}" destId="{F58D8ACA-26DE-4636-8DE9-DA21BB1D5B8A}" srcOrd="0" destOrd="0" parTransId="{FA50FC52-D3E5-4E98-93C3-762CFBBADF9B}" sibTransId="{91F58E0A-F1E1-4893-8BB8-A53DA3A714AB}"/>
    <dgm:cxn modelId="{31D15372-6447-47EC-ADB9-0BDFBE796FA7}" type="presOf" srcId="{BB82310E-D94A-4AAB-B30C-DFFB9FF3A6F5}" destId="{EAE08792-7E15-416C-8D50-5BF4650BDDB1}" srcOrd="0" destOrd="0" presId="urn:microsoft.com/office/officeart/2005/8/layout/pList1"/>
    <dgm:cxn modelId="{24EFA09B-251B-4BC9-85C7-40A490FE496B}" srcId="{5494D203-928E-4B3F-8413-8CEF41C6F906}" destId="{BB82310E-D94A-4AAB-B30C-DFFB9FF3A6F5}" srcOrd="2" destOrd="0" parTransId="{1718A58A-B371-4E26-9503-4DA14BA72EA1}" sibTransId="{E4C0E847-DB3C-42FB-A908-F1ADD9D3A7B8}"/>
    <dgm:cxn modelId="{6ED40BF3-6407-4A3F-BDE1-C9A0545D8713}" type="presOf" srcId="{5494D203-928E-4B3F-8413-8CEF41C6F906}" destId="{4E3AB45F-3E13-4787-8B5F-518D7848D431}" srcOrd="0" destOrd="0" presId="urn:microsoft.com/office/officeart/2005/8/layout/pList1"/>
    <dgm:cxn modelId="{720FEBF3-7DB4-4715-B3B7-311C022B18D3}" type="presOf" srcId="{48E610EF-A3A5-4A6F-B9D4-E603D884AA3E}" destId="{6557FBFA-F0F9-4823-975F-7BD3B69E7940}" srcOrd="0" destOrd="0" presId="urn:microsoft.com/office/officeart/2005/8/layout/pList1"/>
    <dgm:cxn modelId="{B09A3DF4-3A41-4CE1-A6F7-06441F389964}" type="presOf" srcId="{91F58E0A-F1E1-4893-8BB8-A53DA3A714AB}" destId="{C581C603-BE8C-4B99-AE32-BEC2D1022E67}" srcOrd="0" destOrd="0" presId="urn:microsoft.com/office/officeart/2005/8/layout/pList1"/>
    <dgm:cxn modelId="{242DC7BB-DC89-4762-9291-00B1BE277841}" type="presParOf" srcId="{4E3AB45F-3E13-4787-8B5F-518D7848D431}" destId="{66A93FA0-1E11-4C5D-90FA-5144835CD2CD}" srcOrd="0" destOrd="0" presId="urn:microsoft.com/office/officeart/2005/8/layout/pList1"/>
    <dgm:cxn modelId="{1228C961-D6D7-40A4-AA3E-91E084D33FB5}" type="presParOf" srcId="{66A93FA0-1E11-4C5D-90FA-5144835CD2CD}" destId="{B2ED68C9-6CD8-43D5-B5AC-EC6924A12609}" srcOrd="0" destOrd="0" presId="urn:microsoft.com/office/officeart/2005/8/layout/pList1"/>
    <dgm:cxn modelId="{02D9E165-590F-4693-BC07-B04BA6EAF4EF}" type="presParOf" srcId="{66A93FA0-1E11-4C5D-90FA-5144835CD2CD}" destId="{1296B648-3D2A-45DE-956B-F4A18DEE617B}" srcOrd="1" destOrd="0" presId="urn:microsoft.com/office/officeart/2005/8/layout/pList1"/>
    <dgm:cxn modelId="{B0630939-41D3-422D-8D30-B41396A1978B}" type="presParOf" srcId="{4E3AB45F-3E13-4787-8B5F-518D7848D431}" destId="{C581C603-BE8C-4B99-AE32-BEC2D1022E67}" srcOrd="1" destOrd="0" presId="urn:microsoft.com/office/officeart/2005/8/layout/pList1"/>
    <dgm:cxn modelId="{F7A55234-F10A-4A1B-8DBB-28FE1EA24EA1}" type="presParOf" srcId="{4E3AB45F-3E13-4787-8B5F-518D7848D431}" destId="{11A02277-D544-4C72-91C8-BCE3E4D6A544}" srcOrd="2" destOrd="0" presId="urn:microsoft.com/office/officeart/2005/8/layout/pList1"/>
    <dgm:cxn modelId="{D89A8B60-5831-436F-995E-BB3ACC8D395D}" type="presParOf" srcId="{11A02277-D544-4C72-91C8-BCE3E4D6A544}" destId="{E9667798-6DA7-4324-A1AD-47C1A5275EFE}" srcOrd="0" destOrd="0" presId="urn:microsoft.com/office/officeart/2005/8/layout/pList1"/>
    <dgm:cxn modelId="{BA9020D8-FEC4-4B9D-B397-F72D0960C755}" type="presParOf" srcId="{11A02277-D544-4C72-91C8-BCE3E4D6A544}" destId="{2634F22F-1D4B-4C27-AFAB-AFA4B18B5EB5}" srcOrd="1" destOrd="0" presId="urn:microsoft.com/office/officeart/2005/8/layout/pList1"/>
    <dgm:cxn modelId="{9813C28D-B712-485F-BB35-FA89BE9312E8}" type="presParOf" srcId="{4E3AB45F-3E13-4787-8B5F-518D7848D431}" destId="{6557FBFA-F0F9-4823-975F-7BD3B69E7940}" srcOrd="3" destOrd="0" presId="urn:microsoft.com/office/officeart/2005/8/layout/pList1"/>
    <dgm:cxn modelId="{645ABE4F-0FD6-4A3C-AF12-C7E155BB4FCC}" type="presParOf" srcId="{4E3AB45F-3E13-4787-8B5F-518D7848D431}" destId="{BE655247-57DD-42C7-A283-63044704DB87}" srcOrd="4" destOrd="0" presId="urn:microsoft.com/office/officeart/2005/8/layout/pList1"/>
    <dgm:cxn modelId="{C140F027-9011-411A-8E28-7A3291FEEE45}" type="presParOf" srcId="{BE655247-57DD-42C7-A283-63044704DB87}" destId="{FB5ED1DC-A81C-45C0-B597-34BF709DC919}" srcOrd="0" destOrd="0" presId="urn:microsoft.com/office/officeart/2005/8/layout/pList1"/>
    <dgm:cxn modelId="{A43FEEB6-967F-445A-A0A9-076BE889AF44}" type="presParOf" srcId="{BE655247-57DD-42C7-A283-63044704DB87}" destId="{EAE08792-7E15-416C-8D50-5BF4650BDDB1}" srcOrd="1" destOrd="0" presId="urn:microsoft.com/office/officeart/2005/8/layout/p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94E8726-9974-4906-B63B-5D1A2B0D2597}">
      <dgm:prSet custT="1"/>
      <dgm:spPr/>
      <dgm:t>
        <a:bodyPr/>
        <a:lstStyle/>
        <a:p>
          <a:pPr>
            <a:lnSpc>
              <a:spcPct val="100000"/>
            </a:lnSpc>
          </a:pPr>
          <a:r>
            <a:rPr lang="en-US" sz="2400"/>
            <a:t>Independent </a:t>
          </a:r>
          <a:r>
            <a:rPr lang="en-US" sz="2400" b="1"/>
            <a:t>copy</a:t>
          </a:r>
          <a:r>
            <a:rPr lang="en-US" sz="2400"/>
            <a:t> of the current repo with specific requirements</a:t>
          </a:r>
        </a:p>
      </dgm:t>
    </dgm:pt>
    <dgm:pt modelId="{3C1EE5E5-06A9-4E49-AF53-CEFDB4EF81F9}" type="parTrans" cxnId="{39F01202-B2FF-46A1-BD23-789AFF6456D7}">
      <dgm:prSet/>
      <dgm:spPr/>
      <dgm:t>
        <a:bodyPr/>
        <a:lstStyle/>
        <a:p>
          <a:endParaRPr lang="en-US" sz="2400"/>
        </a:p>
      </dgm:t>
    </dgm:pt>
    <dgm:pt modelId="{09D55B1F-87D4-42BE-A5DC-AEB03E88FDB0}" type="sibTrans" cxnId="{39F01202-B2FF-46A1-BD23-789AFF6456D7}">
      <dgm:prSet/>
      <dgm:spPr/>
      <dgm:t>
        <a:bodyPr/>
        <a:lstStyle/>
        <a:p>
          <a:endParaRPr lang="en-US" sz="2400"/>
        </a:p>
      </dgm:t>
    </dgm:pt>
    <dgm:pt modelId="{D86929B2-181E-4059-A895-7B7B80F7C6B9}">
      <dgm:prSet custT="1"/>
      <dgm:spPr/>
      <dgm:t>
        <a:bodyPr/>
        <a:lstStyle/>
        <a:p>
          <a:pPr>
            <a:lnSpc>
              <a:spcPct val="100000"/>
            </a:lnSpc>
          </a:pPr>
          <a:r>
            <a:rPr lang="en-US" sz="2400"/>
            <a:t>Used for fixing </a:t>
          </a:r>
          <a:r>
            <a:rPr lang="en-US" sz="2400" b="1"/>
            <a:t>bugs</a:t>
          </a:r>
          <a:r>
            <a:rPr lang="en-US" sz="2400"/>
            <a:t>, developing new </a:t>
          </a:r>
          <a:r>
            <a:rPr lang="en-US" sz="2400" b="1"/>
            <a:t>features</a:t>
          </a:r>
          <a:r>
            <a:rPr lang="en-US" sz="2400"/>
            <a:t>, etc.</a:t>
          </a:r>
        </a:p>
      </dgm:t>
    </dgm:pt>
    <dgm:pt modelId="{B5C5E2E9-A150-40D7-A642-ACF94D83955C}" type="parTrans" cxnId="{96755D46-2A2C-4784-B138-6C986AD3A1AE}">
      <dgm:prSet/>
      <dgm:spPr/>
      <dgm:t>
        <a:bodyPr/>
        <a:lstStyle/>
        <a:p>
          <a:endParaRPr lang="en-US" sz="2400"/>
        </a:p>
      </dgm:t>
    </dgm:pt>
    <dgm:pt modelId="{0B12854F-9019-4A10-A0AF-6F2BCA6EE12A}" type="sibTrans" cxnId="{96755D46-2A2C-4784-B138-6C986AD3A1AE}">
      <dgm:prSet/>
      <dgm:spPr/>
      <dgm:t>
        <a:bodyPr/>
        <a:lstStyle/>
        <a:p>
          <a:endParaRPr lang="en-US" sz="2400"/>
        </a:p>
      </dgm:t>
    </dgm:pt>
    <dgm:pt modelId="{A12C441F-83F4-45AF-A2D1-7D0FE7388B2E}">
      <dgm:prSet custT="1"/>
      <dgm:spPr/>
      <dgm:t>
        <a:bodyPr/>
        <a:lstStyle/>
        <a:p>
          <a:pPr>
            <a:lnSpc>
              <a:spcPct val="100000"/>
            </a:lnSpc>
          </a:pPr>
          <a:r>
            <a:rPr lang="en-US" sz="2400" b="1"/>
            <a:t>Merged</a:t>
          </a:r>
          <a:r>
            <a:rPr lang="en-US" sz="2400"/>
            <a:t> back into main like a pull/push when work is complete</a:t>
          </a:r>
        </a:p>
      </dgm:t>
    </dgm:pt>
    <dgm:pt modelId="{F1E25163-C7F8-426E-8EF2-0BC2F5528E8F}" type="parTrans" cxnId="{E8A4FE05-0974-4DCB-9964-FBBE9B9EFB4A}">
      <dgm:prSet/>
      <dgm:spPr/>
      <dgm:t>
        <a:bodyPr/>
        <a:lstStyle/>
        <a:p>
          <a:endParaRPr lang="en-US" sz="2400"/>
        </a:p>
      </dgm:t>
    </dgm:pt>
    <dgm:pt modelId="{7D7596BA-3455-47F6-8069-7042B7FBCA29}" type="sibTrans" cxnId="{E8A4FE05-0974-4DCB-9964-FBBE9B9EFB4A}">
      <dgm:prSet/>
      <dgm:spPr/>
      <dgm:t>
        <a:bodyPr/>
        <a:lstStyle/>
        <a:p>
          <a:endParaRPr lang="en-US" sz="2400"/>
        </a:p>
      </dgm:t>
    </dgm:pt>
    <dgm:pt modelId="{D2E4FA26-A0C4-41B4-A5BD-D40689B9CB57}">
      <dgm:prSet custT="1"/>
      <dgm:spPr/>
      <dgm:t>
        <a:bodyPr/>
        <a:lstStyle/>
        <a:p>
          <a:pPr>
            <a:lnSpc>
              <a:spcPct val="100000"/>
            </a:lnSpc>
          </a:pPr>
          <a:r>
            <a:rPr lang="en-US" sz="2400" b="1"/>
            <a:t>Prevents</a:t>
          </a:r>
          <a:r>
            <a:rPr lang="en-US" sz="2400"/>
            <a:t> disturbing the main line of work</a:t>
          </a:r>
        </a:p>
      </dgm:t>
    </dgm:pt>
    <dgm:pt modelId="{2C94097E-D3C8-4F03-97AB-8A8C3DAE42CD}" type="parTrans" cxnId="{DFF450F3-4EC5-4EED-B2DE-1B43C82308EB}">
      <dgm:prSet/>
      <dgm:spPr/>
      <dgm:t>
        <a:bodyPr/>
        <a:lstStyle/>
        <a:p>
          <a:endParaRPr lang="en-US" sz="2400"/>
        </a:p>
      </dgm:t>
    </dgm:pt>
    <dgm:pt modelId="{B7E482C5-9A58-4BE3-8FC7-41459D9EF30E}" type="sibTrans" cxnId="{DFF450F3-4EC5-4EED-B2DE-1B43C82308EB}">
      <dgm:prSet/>
      <dgm:spPr/>
      <dgm:t>
        <a:bodyPr/>
        <a:lstStyle/>
        <a:p>
          <a:endParaRPr lang="en-US" sz="2400"/>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4"/>
      <dgm:spPr/>
    </dgm:pt>
    <dgm:pt modelId="{F685725B-FCD5-46E6-854E-B057DAA3DF04}" type="pres">
      <dgm:prSet presAssocID="{194E8726-9974-4906-B63B-5D1A2B0D259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lipboard with solid fill"/>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4">
        <dgm:presLayoutVars>
          <dgm:chMax val="0"/>
          <dgm:chPref val="0"/>
        </dgm:presLayoutVars>
      </dgm:prSet>
      <dgm:spPr/>
    </dgm:pt>
    <dgm:pt modelId="{CF5B1885-744B-42A4-873F-34AD375923C7}" type="pres">
      <dgm:prSet presAssocID="{09D55B1F-87D4-42BE-A5DC-AEB03E88FDB0}" presName="sibTrans" presStyleCnt="0"/>
      <dgm:spPr/>
    </dgm:pt>
    <dgm:pt modelId="{1740CA39-ADDD-499A-82B8-62E21CD20E60}" type="pres">
      <dgm:prSet presAssocID="{D2E4FA26-A0C4-41B4-A5BD-D40689B9CB57}" presName="compNode" presStyleCnt="0"/>
      <dgm:spPr/>
    </dgm:pt>
    <dgm:pt modelId="{B741ED80-2670-4C6C-9C67-DADFDA3811F5}" type="pres">
      <dgm:prSet presAssocID="{D2E4FA26-A0C4-41B4-A5BD-D40689B9CB57}" presName="bgRect" presStyleLbl="bgShp" presStyleIdx="1" presStyleCnt="4"/>
      <dgm:spPr/>
    </dgm:pt>
    <dgm:pt modelId="{D99E1B89-BE8F-4963-B466-BAD40C8840E0}" type="pres">
      <dgm:prSet presAssocID="{D2E4FA26-A0C4-41B4-A5BD-D40689B9CB5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Shield Tick with solid fill"/>
        </a:ext>
      </dgm:extLst>
    </dgm:pt>
    <dgm:pt modelId="{19F157A7-D07E-410F-A85F-C66C055E45EE}" type="pres">
      <dgm:prSet presAssocID="{D2E4FA26-A0C4-41B4-A5BD-D40689B9CB57}" presName="spaceRect" presStyleCnt="0"/>
      <dgm:spPr/>
    </dgm:pt>
    <dgm:pt modelId="{F3C63B25-DEDD-41F1-92EE-7E4C62FCFDA0}" type="pres">
      <dgm:prSet presAssocID="{D2E4FA26-A0C4-41B4-A5BD-D40689B9CB57}" presName="parTx" presStyleLbl="revTx" presStyleIdx="1" presStyleCnt="4">
        <dgm:presLayoutVars>
          <dgm:chMax val="0"/>
          <dgm:chPref val="0"/>
        </dgm:presLayoutVars>
      </dgm:prSet>
      <dgm:spPr/>
    </dgm:pt>
    <dgm:pt modelId="{F1820DF8-B9DC-44C3-BCF5-9CD294898B67}" type="pres">
      <dgm:prSet presAssocID="{B7E482C5-9A58-4BE3-8FC7-41459D9EF30E}" presName="sibTrans" presStyleCnt="0"/>
      <dgm:spPr/>
    </dgm:pt>
    <dgm:pt modelId="{53785311-4211-4A5F-AC57-B4D5552D0352}" type="pres">
      <dgm:prSet presAssocID="{D86929B2-181E-4059-A895-7B7B80F7C6B9}" presName="compNode" presStyleCnt="0"/>
      <dgm:spPr/>
    </dgm:pt>
    <dgm:pt modelId="{7AA102E4-F6D2-4E9C-83C0-1A5DEF30CB4F}" type="pres">
      <dgm:prSet presAssocID="{D86929B2-181E-4059-A895-7B7B80F7C6B9}" presName="bgRect" presStyleLbl="bgShp" presStyleIdx="2" presStyleCnt="4"/>
      <dgm:spPr/>
    </dgm:pt>
    <dgm:pt modelId="{C60F7E26-185C-40D7-A5BC-2629A92A041C}" type="pres">
      <dgm:prSet presAssocID="{D86929B2-181E-4059-A895-7B7B80F7C6B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Ladybug with solid fill"/>
        </a:ext>
      </dgm:extLst>
    </dgm:pt>
    <dgm:pt modelId="{D820CE81-0139-48D0-BE28-4C04CE86DAE8}" type="pres">
      <dgm:prSet presAssocID="{D86929B2-181E-4059-A895-7B7B80F7C6B9}" presName="spaceRect" presStyleCnt="0"/>
      <dgm:spPr/>
    </dgm:pt>
    <dgm:pt modelId="{8295DE0F-E504-4089-9A1D-9A7FB52A041E}" type="pres">
      <dgm:prSet presAssocID="{D86929B2-181E-4059-A895-7B7B80F7C6B9}" presName="parTx" presStyleLbl="revTx" presStyleIdx="2" presStyleCnt="4">
        <dgm:presLayoutVars>
          <dgm:chMax val="0"/>
          <dgm:chPref val="0"/>
        </dgm:presLayoutVars>
      </dgm:prSet>
      <dgm:spPr/>
    </dgm:pt>
    <dgm:pt modelId="{E73212F7-33C5-402A-82E8-A2789DF29C59}" type="pres">
      <dgm:prSet presAssocID="{0B12854F-9019-4A10-A0AF-6F2BCA6EE12A}" presName="sibTrans" presStyleCnt="0"/>
      <dgm:spPr/>
    </dgm:pt>
    <dgm:pt modelId="{C6F51FFA-BCA3-4793-AED3-73DD5274323A}" type="pres">
      <dgm:prSet presAssocID="{A12C441F-83F4-45AF-A2D1-7D0FE7388B2E}" presName="compNode" presStyleCnt="0"/>
      <dgm:spPr/>
    </dgm:pt>
    <dgm:pt modelId="{8F741CF4-E961-4934-8B5D-3D1C534E1716}" type="pres">
      <dgm:prSet presAssocID="{A12C441F-83F4-45AF-A2D1-7D0FE7388B2E}" presName="bgRect" presStyleLbl="bgShp" presStyleIdx="3" presStyleCnt="4"/>
      <dgm:spPr/>
    </dgm:pt>
    <dgm:pt modelId="{F78D40EF-BE13-4441-880E-9E3FF1C694B3}" type="pres">
      <dgm:prSet presAssocID="{A12C441F-83F4-45AF-A2D1-7D0FE7388B2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Link with solid fill"/>
        </a:ext>
      </dgm:extLst>
    </dgm:pt>
    <dgm:pt modelId="{A014ECC6-6D13-493D-867F-609C5D770B32}" type="pres">
      <dgm:prSet presAssocID="{A12C441F-83F4-45AF-A2D1-7D0FE7388B2E}" presName="spaceRect" presStyleCnt="0"/>
      <dgm:spPr/>
    </dgm:pt>
    <dgm:pt modelId="{994A7688-7FF7-4CE3-831B-18160A6D531F}" type="pres">
      <dgm:prSet presAssocID="{A12C441F-83F4-45AF-A2D1-7D0FE7388B2E}" presName="parTx" presStyleLbl="revTx" presStyleIdx="3" presStyleCnt="4">
        <dgm:presLayoutVars>
          <dgm:chMax val="0"/>
          <dgm:chPref val="0"/>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E8A4FE05-0974-4DCB-9964-FBBE9B9EFB4A}" srcId="{0046BC35-C90C-4C26-ADB1-3D8D2F623AC9}" destId="{A12C441F-83F4-45AF-A2D1-7D0FE7388B2E}" srcOrd="3" destOrd="0" parTransId="{F1E25163-C7F8-426E-8EF2-0BC2F5528E8F}" sibTransId="{7D7596BA-3455-47F6-8069-7042B7FBCA29}"/>
    <dgm:cxn modelId="{09642415-5D56-46C2-872D-0C11E87AB840}" type="presOf" srcId="{194E8726-9974-4906-B63B-5D1A2B0D2597}" destId="{90365817-AC47-4315-A8D0-15DBBF0FB1DD}" srcOrd="0" destOrd="0" presId="urn:microsoft.com/office/officeart/2018/2/layout/IconVerticalSolidList"/>
    <dgm:cxn modelId="{C4D6C51D-F951-47E0-B303-FA0F9DD7A568}" type="presOf" srcId="{D2E4FA26-A0C4-41B4-A5BD-D40689B9CB57}" destId="{F3C63B25-DEDD-41F1-92EE-7E4C62FCFDA0}" srcOrd="0" destOrd="0" presId="urn:microsoft.com/office/officeart/2018/2/layout/IconVerticalSolidList"/>
    <dgm:cxn modelId="{9A1AEE32-284E-4313-8A14-C6AE34553E6A}" type="presOf" srcId="{D86929B2-181E-4059-A895-7B7B80F7C6B9}" destId="{8295DE0F-E504-4089-9A1D-9A7FB52A041E}" srcOrd="0" destOrd="0" presId="urn:microsoft.com/office/officeart/2018/2/layout/IconVerticalSolidList"/>
    <dgm:cxn modelId="{96755D46-2A2C-4784-B138-6C986AD3A1AE}" srcId="{0046BC35-C90C-4C26-ADB1-3D8D2F623AC9}" destId="{D86929B2-181E-4059-A895-7B7B80F7C6B9}" srcOrd="2" destOrd="0" parTransId="{B5C5E2E9-A150-40D7-A642-ACF94D83955C}" sibTransId="{0B12854F-9019-4A10-A0AF-6F2BCA6EE12A}"/>
    <dgm:cxn modelId="{A675DA5A-2CB4-4D3B-B28F-73B916343209}" type="presOf" srcId="{A12C441F-83F4-45AF-A2D1-7D0FE7388B2E}" destId="{994A7688-7FF7-4CE3-831B-18160A6D531F}" srcOrd="0" destOrd="0" presId="urn:microsoft.com/office/officeart/2018/2/layout/IconVerticalSolidList"/>
    <dgm:cxn modelId="{F9238D7B-23B8-4C7F-B3B7-447626BD9983}" type="presOf" srcId="{0046BC35-C90C-4C26-ADB1-3D8D2F623AC9}" destId="{01C25ACE-EF3C-4589-81A7-437145DABC24}" srcOrd="0" destOrd="0" presId="urn:microsoft.com/office/officeart/2018/2/layout/IconVerticalSolidList"/>
    <dgm:cxn modelId="{DFF450F3-4EC5-4EED-B2DE-1B43C82308EB}" srcId="{0046BC35-C90C-4C26-ADB1-3D8D2F623AC9}" destId="{D2E4FA26-A0C4-41B4-A5BD-D40689B9CB57}" srcOrd="1" destOrd="0" parTransId="{2C94097E-D3C8-4F03-97AB-8A8C3DAE42CD}" sibTransId="{B7E482C5-9A58-4BE3-8FC7-41459D9EF30E}"/>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122A36DD-F02F-465A-AE17-52264881D28D}" type="presParOf" srcId="{01C25ACE-EF3C-4589-81A7-437145DABC24}" destId="{CF5B1885-744B-42A4-873F-34AD375923C7}" srcOrd="1" destOrd="0" presId="urn:microsoft.com/office/officeart/2018/2/layout/IconVerticalSolidList"/>
    <dgm:cxn modelId="{497CAA19-F1FB-4FAC-9E5F-D03544FAC935}" type="presParOf" srcId="{01C25ACE-EF3C-4589-81A7-437145DABC24}" destId="{1740CA39-ADDD-499A-82B8-62E21CD20E60}" srcOrd="2" destOrd="0" presId="urn:microsoft.com/office/officeart/2018/2/layout/IconVerticalSolidList"/>
    <dgm:cxn modelId="{CD4FE764-182F-4D24-AC98-41E69C7F0BF0}" type="presParOf" srcId="{1740CA39-ADDD-499A-82B8-62E21CD20E60}" destId="{B741ED80-2670-4C6C-9C67-DADFDA3811F5}" srcOrd="0" destOrd="0" presId="urn:microsoft.com/office/officeart/2018/2/layout/IconVerticalSolidList"/>
    <dgm:cxn modelId="{50715C33-11BF-4A46-BC12-0D1E5E10AA1F}" type="presParOf" srcId="{1740CA39-ADDD-499A-82B8-62E21CD20E60}" destId="{D99E1B89-BE8F-4963-B466-BAD40C8840E0}" srcOrd="1" destOrd="0" presId="urn:microsoft.com/office/officeart/2018/2/layout/IconVerticalSolidList"/>
    <dgm:cxn modelId="{1E58AB99-6B09-44D8-85EA-0C014699F4B9}" type="presParOf" srcId="{1740CA39-ADDD-499A-82B8-62E21CD20E60}" destId="{19F157A7-D07E-410F-A85F-C66C055E45EE}" srcOrd="2" destOrd="0" presId="urn:microsoft.com/office/officeart/2018/2/layout/IconVerticalSolidList"/>
    <dgm:cxn modelId="{86B1E067-3F92-42D9-A9DB-5CF9E57D3720}" type="presParOf" srcId="{1740CA39-ADDD-499A-82B8-62E21CD20E60}" destId="{F3C63B25-DEDD-41F1-92EE-7E4C62FCFDA0}" srcOrd="3" destOrd="0" presId="urn:microsoft.com/office/officeart/2018/2/layout/IconVerticalSolidList"/>
    <dgm:cxn modelId="{683EF294-0FE5-4994-8BB7-8A140D5B095B}" type="presParOf" srcId="{01C25ACE-EF3C-4589-81A7-437145DABC24}" destId="{F1820DF8-B9DC-44C3-BCF5-9CD294898B67}" srcOrd="3" destOrd="0" presId="urn:microsoft.com/office/officeart/2018/2/layout/IconVerticalSolidList"/>
    <dgm:cxn modelId="{1E568CC4-D158-4BA5-80D4-E6B65641684D}" type="presParOf" srcId="{01C25ACE-EF3C-4589-81A7-437145DABC24}" destId="{53785311-4211-4A5F-AC57-B4D5552D0352}" srcOrd="4" destOrd="0" presId="urn:microsoft.com/office/officeart/2018/2/layout/IconVerticalSolidList"/>
    <dgm:cxn modelId="{83BBB477-1882-4852-B3AA-7FF465E7179E}" type="presParOf" srcId="{53785311-4211-4A5F-AC57-B4D5552D0352}" destId="{7AA102E4-F6D2-4E9C-83C0-1A5DEF30CB4F}" srcOrd="0" destOrd="0" presId="urn:microsoft.com/office/officeart/2018/2/layout/IconVerticalSolidList"/>
    <dgm:cxn modelId="{415A0DB1-4DFB-4C5B-831D-772C388E4935}" type="presParOf" srcId="{53785311-4211-4A5F-AC57-B4D5552D0352}" destId="{C60F7E26-185C-40D7-A5BC-2629A92A041C}" srcOrd="1" destOrd="0" presId="urn:microsoft.com/office/officeart/2018/2/layout/IconVerticalSolidList"/>
    <dgm:cxn modelId="{FBD199D6-B67D-47FE-B4B1-0E0BA039F197}" type="presParOf" srcId="{53785311-4211-4A5F-AC57-B4D5552D0352}" destId="{D820CE81-0139-48D0-BE28-4C04CE86DAE8}" srcOrd="2" destOrd="0" presId="urn:microsoft.com/office/officeart/2018/2/layout/IconVerticalSolidList"/>
    <dgm:cxn modelId="{65D3F9EF-7E3D-49CF-B0CA-A3C13D3FC100}" type="presParOf" srcId="{53785311-4211-4A5F-AC57-B4D5552D0352}" destId="{8295DE0F-E504-4089-9A1D-9A7FB52A041E}" srcOrd="3" destOrd="0" presId="urn:microsoft.com/office/officeart/2018/2/layout/IconVerticalSolidList"/>
    <dgm:cxn modelId="{E9963A84-B520-4C1B-A5A6-7C111C2A05B0}" type="presParOf" srcId="{01C25ACE-EF3C-4589-81A7-437145DABC24}" destId="{E73212F7-33C5-402A-82E8-A2789DF29C59}" srcOrd="5" destOrd="0" presId="urn:microsoft.com/office/officeart/2018/2/layout/IconVerticalSolidList"/>
    <dgm:cxn modelId="{A6255303-ABED-49D5-84EA-1138647E5F02}" type="presParOf" srcId="{01C25ACE-EF3C-4589-81A7-437145DABC24}" destId="{C6F51FFA-BCA3-4793-AED3-73DD5274323A}" srcOrd="6" destOrd="0" presId="urn:microsoft.com/office/officeart/2018/2/layout/IconVerticalSolidList"/>
    <dgm:cxn modelId="{BCCC1A4C-B000-4747-93D9-1D425203B7FB}" type="presParOf" srcId="{C6F51FFA-BCA3-4793-AED3-73DD5274323A}" destId="{8F741CF4-E961-4934-8B5D-3D1C534E1716}" srcOrd="0" destOrd="0" presId="urn:microsoft.com/office/officeart/2018/2/layout/IconVerticalSolidList"/>
    <dgm:cxn modelId="{D1755E72-0677-45EE-8B0D-73EB95EE30B0}" type="presParOf" srcId="{C6F51FFA-BCA3-4793-AED3-73DD5274323A}" destId="{F78D40EF-BE13-4441-880E-9E3FF1C694B3}" srcOrd="1" destOrd="0" presId="urn:microsoft.com/office/officeart/2018/2/layout/IconVerticalSolidList"/>
    <dgm:cxn modelId="{0CD4AB39-5CEB-4659-ACDE-EED697C75C22}" type="presParOf" srcId="{C6F51FFA-BCA3-4793-AED3-73DD5274323A}" destId="{A014ECC6-6D13-493D-867F-609C5D770B32}" srcOrd="2" destOrd="0" presId="urn:microsoft.com/office/officeart/2018/2/layout/IconVerticalSolidList"/>
    <dgm:cxn modelId="{BA87C551-918D-4022-9EFC-52804CDBDA9B}" type="presParOf" srcId="{C6F51FFA-BCA3-4793-AED3-73DD5274323A}" destId="{994A7688-7FF7-4CE3-831B-18160A6D531F}"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59C223-7F3D-4E60-8F08-9102C6965D0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E94758E-989C-4B18-9C47-87205F3A3A18}">
      <dgm:prSet/>
      <dgm:spPr/>
      <dgm:t>
        <a:bodyPr/>
        <a:lstStyle/>
        <a:p>
          <a:r>
            <a:rPr lang="en-US" baseline="0"/>
            <a:t>Enable </a:t>
          </a:r>
          <a:r>
            <a:rPr lang="en-US" b="1" baseline="0"/>
            <a:t>continuous delivery </a:t>
          </a:r>
          <a:r>
            <a:rPr lang="en-US" baseline="0"/>
            <a:t>for rapid feedback and improvements </a:t>
          </a:r>
          <a:endParaRPr lang="en-US"/>
        </a:p>
      </dgm:t>
    </dgm:pt>
    <dgm:pt modelId="{ED62AF81-C9D3-4445-AFC0-FC9F535F4A96}" type="parTrans" cxnId="{694F0AEC-188F-4431-9C9D-8D37CD680D5D}">
      <dgm:prSet/>
      <dgm:spPr/>
      <dgm:t>
        <a:bodyPr/>
        <a:lstStyle/>
        <a:p>
          <a:endParaRPr lang="en-US"/>
        </a:p>
      </dgm:t>
    </dgm:pt>
    <dgm:pt modelId="{6319D872-60CF-4BF3-96DA-D4EFF21BD77C}" type="sibTrans" cxnId="{694F0AEC-188F-4431-9C9D-8D37CD680D5D}">
      <dgm:prSet/>
      <dgm:spPr/>
      <dgm:t>
        <a:bodyPr/>
        <a:lstStyle/>
        <a:p>
          <a:endParaRPr lang="en-US"/>
        </a:p>
      </dgm:t>
    </dgm:pt>
    <dgm:pt modelId="{92BB7422-202B-462C-85A8-B68AE2970EA0}">
      <dgm:prSet/>
      <dgm:spPr/>
      <dgm:t>
        <a:bodyPr/>
        <a:lstStyle/>
        <a:p>
          <a:r>
            <a:rPr lang="en-US" baseline="0"/>
            <a:t>Harmonize development and operations teams to </a:t>
          </a:r>
          <a:r>
            <a:rPr lang="en-US" b="1" baseline="0"/>
            <a:t>work together</a:t>
          </a:r>
          <a:endParaRPr lang="en-US"/>
        </a:p>
      </dgm:t>
    </dgm:pt>
    <dgm:pt modelId="{B9CE3A2C-B2F2-40B5-A5AB-19F19D0AA1FB}" type="parTrans" cxnId="{5ACE2E63-6027-451D-9080-6CF12F1CEA33}">
      <dgm:prSet/>
      <dgm:spPr/>
      <dgm:t>
        <a:bodyPr/>
        <a:lstStyle/>
        <a:p>
          <a:endParaRPr lang="en-US"/>
        </a:p>
      </dgm:t>
    </dgm:pt>
    <dgm:pt modelId="{FEB35537-E536-4F7B-82F5-544B7321128D}" type="sibTrans" cxnId="{5ACE2E63-6027-451D-9080-6CF12F1CEA33}">
      <dgm:prSet/>
      <dgm:spPr/>
      <dgm:t>
        <a:bodyPr/>
        <a:lstStyle/>
        <a:p>
          <a:endParaRPr lang="en-US"/>
        </a:p>
      </dgm:t>
    </dgm:pt>
    <dgm:pt modelId="{9223558F-9EA4-4DA1-9868-F5F9FF2C14D2}">
      <dgm:prSet/>
      <dgm:spPr/>
      <dgm:t>
        <a:bodyPr/>
        <a:lstStyle/>
        <a:p>
          <a:r>
            <a:rPr lang="en-US" b="1" baseline="0"/>
            <a:t>Process</a:t>
          </a:r>
          <a:r>
            <a:rPr lang="en-US" baseline="0"/>
            <a:t> </a:t>
          </a:r>
          <a:r>
            <a:rPr lang="en-US" b="1" baseline="0"/>
            <a:t>focused</a:t>
          </a:r>
          <a:r>
            <a:rPr lang="en-US" baseline="0"/>
            <a:t> to provide smoothest experience</a:t>
          </a:r>
          <a:endParaRPr lang="en-US"/>
        </a:p>
      </dgm:t>
    </dgm:pt>
    <dgm:pt modelId="{3FCED872-5973-47BE-B23B-6B9BDCF82D8D}" type="parTrans" cxnId="{7141567D-3E3D-4088-97F0-A877F92606BE}">
      <dgm:prSet/>
      <dgm:spPr/>
      <dgm:t>
        <a:bodyPr/>
        <a:lstStyle/>
        <a:p>
          <a:endParaRPr lang="en-US"/>
        </a:p>
      </dgm:t>
    </dgm:pt>
    <dgm:pt modelId="{F3A7AA6C-0E9D-4F74-929D-D78E8C2F22F5}" type="sibTrans" cxnId="{7141567D-3E3D-4088-97F0-A877F92606BE}">
      <dgm:prSet/>
      <dgm:spPr/>
      <dgm:t>
        <a:bodyPr/>
        <a:lstStyle/>
        <a:p>
          <a:endParaRPr lang="en-US"/>
        </a:p>
      </dgm:t>
    </dgm:pt>
    <dgm:pt modelId="{A459D790-EA84-43D7-A344-FE9F46159BAB}">
      <dgm:prSet/>
      <dgm:spPr/>
      <dgm:t>
        <a:bodyPr/>
        <a:lstStyle/>
        <a:p>
          <a:r>
            <a:rPr lang="en-US" baseline="0"/>
            <a:t>Requires shift in </a:t>
          </a:r>
          <a:r>
            <a:rPr lang="en-US" b="1" baseline="0"/>
            <a:t>mindset</a:t>
          </a:r>
          <a:r>
            <a:rPr lang="en-US" baseline="0"/>
            <a:t> and company </a:t>
          </a:r>
          <a:r>
            <a:rPr lang="en-US" b="1" baseline="0"/>
            <a:t>culture</a:t>
          </a:r>
          <a:endParaRPr lang="en-US"/>
        </a:p>
      </dgm:t>
    </dgm:pt>
    <dgm:pt modelId="{7D62DA6C-F2CB-4649-941D-D780A07D46BD}" type="parTrans" cxnId="{74C64F33-CC62-435A-8A80-ACD3307069AC}">
      <dgm:prSet/>
      <dgm:spPr/>
      <dgm:t>
        <a:bodyPr/>
        <a:lstStyle/>
        <a:p>
          <a:endParaRPr lang="en-US"/>
        </a:p>
      </dgm:t>
    </dgm:pt>
    <dgm:pt modelId="{29A17335-08BE-458C-9E68-D16CE4BAB619}" type="sibTrans" cxnId="{74C64F33-CC62-435A-8A80-ACD3307069AC}">
      <dgm:prSet/>
      <dgm:spPr/>
      <dgm:t>
        <a:bodyPr/>
        <a:lstStyle/>
        <a:p>
          <a:endParaRPr lang="en-US"/>
        </a:p>
      </dgm:t>
    </dgm:pt>
    <dgm:pt modelId="{1572F98D-4B90-463D-9EB1-3D003B380473}" type="pres">
      <dgm:prSet presAssocID="{C559C223-7F3D-4E60-8F08-9102C6965D03}" presName="vert0" presStyleCnt="0">
        <dgm:presLayoutVars>
          <dgm:dir/>
          <dgm:animOne val="branch"/>
          <dgm:animLvl val="lvl"/>
        </dgm:presLayoutVars>
      </dgm:prSet>
      <dgm:spPr/>
    </dgm:pt>
    <dgm:pt modelId="{F0088860-0F5E-4B3B-8045-C5E7CE1A5A15}" type="pres">
      <dgm:prSet presAssocID="{8E94758E-989C-4B18-9C47-87205F3A3A18}" presName="thickLine" presStyleLbl="alignNode1" presStyleIdx="0" presStyleCnt="4"/>
      <dgm:spPr/>
    </dgm:pt>
    <dgm:pt modelId="{D5CDC5F0-EC2C-4A12-8939-77DBC4FEB544}" type="pres">
      <dgm:prSet presAssocID="{8E94758E-989C-4B18-9C47-87205F3A3A18}" presName="horz1" presStyleCnt="0"/>
      <dgm:spPr/>
    </dgm:pt>
    <dgm:pt modelId="{5A77B997-ADAB-43C7-A5B8-1A7731840B47}" type="pres">
      <dgm:prSet presAssocID="{8E94758E-989C-4B18-9C47-87205F3A3A18}" presName="tx1" presStyleLbl="revTx" presStyleIdx="0" presStyleCnt="4"/>
      <dgm:spPr/>
    </dgm:pt>
    <dgm:pt modelId="{8C145708-023E-4A8A-A3CA-132A49692577}" type="pres">
      <dgm:prSet presAssocID="{8E94758E-989C-4B18-9C47-87205F3A3A18}" presName="vert1" presStyleCnt="0"/>
      <dgm:spPr/>
    </dgm:pt>
    <dgm:pt modelId="{C8ADB0AE-A700-499B-B7F7-1FBED6EDACFA}" type="pres">
      <dgm:prSet presAssocID="{92BB7422-202B-462C-85A8-B68AE2970EA0}" presName="thickLine" presStyleLbl="alignNode1" presStyleIdx="1" presStyleCnt="4"/>
      <dgm:spPr/>
    </dgm:pt>
    <dgm:pt modelId="{4903A7A9-08A3-4C54-B911-7D2F19C03FCE}" type="pres">
      <dgm:prSet presAssocID="{92BB7422-202B-462C-85A8-B68AE2970EA0}" presName="horz1" presStyleCnt="0"/>
      <dgm:spPr/>
    </dgm:pt>
    <dgm:pt modelId="{D8C6F7B1-BDEC-4386-BE48-45EECB4FE37D}" type="pres">
      <dgm:prSet presAssocID="{92BB7422-202B-462C-85A8-B68AE2970EA0}" presName="tx1" presStyleLbl="revTx" presStyleIdx="1" presStyleCnt="4"/>
      <dgm:spPr/>
    </dgm:pt>
    <dgm:pt modelId="{536FAFC3-54A8-4DCE-8823-E6BA42EB49B0}" type="pres">
      <dgm:prSet presAssocID="{92BB7422-202B-462C-85A8-B68AE2970EA0}" presName="vert1" presStyleCnt="0"/>
      <dgm:spPr/>
    </dgm:pt>
    <dgm:pt modelId="{D187D353-D25D-4A78-8FC1-C80A34905787}" type="pres">
      <dgm:prSet presAssocID="{9223558F-9EA4-4DA1-9868-F5F9FF2C14D2}" presName="thickLine" presStyleLbl="alignNode1" presStyleIdx="2" presStyleCnt="4"/>
      <dgm:spPr/>
    </dgm:pt>
    <dgm:pt modelId="{EDD0A109-1EB7-41DE-96DC-087E938C2FD0}" type="pres">
      <dgm:prSet presAssocID="{9223558F-9EA4-4DA1-9868-F5F9FF2C14D2}" presName="horz1" presStyleCnt="0"/>
      <dgm:spPr/>
    </dgm:pt>
    <dgm:pt modelId="{D44668F4-B6DD-43DB-8E79-28223EDFB92E}" type="pres">
      <dgm:prSet presAssocID="{9223558F-9EA4-4DA1-9868-F5F9FF2C14D2}" presName="tx1" presStyleLbl="revTx" presStyleIdx="2" presStyleCnt="4"/>
      <dgm:spPr/>
    </dgm:pt>
    <dgm:pt modelId="{9D51FD5E-60F5-4D55-BEBE-6FFB4603EDCC}" type="pres">
      <dgm:prSet presAssocID="{9223558F-9EA4-4DA1-9868-F5F9FF2C14D2}" presName="vert1" presStyleCnt="0"/>
      <dgm:spPr/>
    </dgm:pt>
    <dgm:pt modelId="{BFF36FB9-D044-4C98-8894-0AEF9D69614D}" type="pres">
      <dgm:prSet presAssocID="{A459D790-EA84-43D7-A344-FE9F46159BAB}" presName="thickLine" presStyleLbl="alignNode1" presStyleIdx="3" presStyleCnt="4"/>
      <dgm:spPr/>
    </dgm:pt>
    <dgm:pt modelId="{C131682F-342F-4BE5-A0C5-03DB2ABD59A9}" type="pres">
      <dgm:prSet presAssocID="{A459D790-EA84-43D7-A344-FE9F46159BAB}" presName="horz1" presStyleCnt="0"/>
      <dgm:spPr/>
    </dgm:pt>
    <dgm:pt modelId="{D6A8FB16-63C7-49C6-9668-A9D3000C1D02}" type="pres">
      <dgm:prSet presAssocID="{A459D790-EA84-43D7-A344-FE9F46159BAB}" presName="tx1" presStyleLbl="revTx" presStyleIdx="3" presStyleCnt="4"/>
      <dgm:spPr/>
    </dgm:pt>
    <dgm:pt modelId="{DF4D503B-08FF-4BAE-9C08-BDC929D56AB6}" type="pres">
      <dgm:prSet presAssocID="{A459D790-EA84-43D7-A344-FE9F46159BAB}" presName="vert1" presStyleCnt="0"/>
      <dgm:spPr/>
    </dgm:pt>
  </dgm:ptLst>
  <dgm:cxnLst>
    <dgm:cxn modelId="{72F25601-A846-436A-8745-E3C029953BA6}" type="presOf" srcId="{A459D790-EA84-43D7-A344-FE9F46159BAB}" destId="{D6A8FB16-63C7-49C6-9668-A9D3000C1D02}" srcOrd="0" destOrd="0" presId="urn:microsoft.com/office/officeart/2008/layout/LinedList"/>
    <dgm:cxn modelId="{74C64F33-CC62-435A-8A80-ACD3307069AC}" srcId="{C559C223-7F3D-4E60-8F08-9102C6965D03}" destId="{A459D790-EA84-43D7-A344-FE9F46159BAB}" srcOrd="3" destOrd="0" parTransId="{7D62DA6C-F2CB-4649-941D-D780A07D46BD}" sibTransId="{29A17335-08BE-458C-9E68-D16CE4BAB619}"/>
    <dgm:cxn modelId="{BB2F1842-FC0A-4E51-A1D7-205BEB5DC4AD}" type="presOf" srcId="{C559C223-7F3D-4E60-8F08-9102C6965D03}" destId="{1572F98D-4B90-463D-9EB1-3D003B380473}" srcOrd="0" destOrd="0" presId="urn:microsoft.com/office/officeart/2008/layout/LinedList"/>
    <dgm:cxn modelId="{5ACE2E63-6027-451D-9080-6CF12F1CEA33}" srcId="{C559C223-7F3D-4E60-8F08-9102C6965D03}" destId="{92BB7422-202B-462C-85A8-B68AE2970EA0}" srcOrd="1" destOrd="0" parTransId="{B9CE3A2C-B2F2-40B5-A5AB-19F19D0AA1FB}" sibTransId="{FEB35537-E536-4F7B-82F5-544B7321128D}"/>
    <dgm:cxn modelId="{7141567D-3E3D-4088-97F0-A877F92606BE}" srcId="{C559C223-7F3D-4E60-8F08-9102C6965D03}" destId="{9223558F-9EA4-4DA1-9868-F5F9FF2C14D2}" srcOrd="2" destOrd="0" parTransId="{3FCED872-5973-47BE-B23B-6B9BDCF82D8D}" sibTransId="{F3A7AA6C-0E9D-4F74-929D-D78E8C2F22F5}"/>
    <dgm:cxn modelId="{336FCEA1-ED2F-46D4-9147-B7A349D892C3}" type="presOf" srcId="{8E94758E-989C-4B18-9C47-87205F3A3A18}" destId="{5A77B997-ADAB-43C7-A5B8-1A7731840B47}" srcOrd="0" destOrd="0" presId="urn:microsoft.com/office/officeart/2008/layout/LinedList"/>
    <dgm:cxn modelId="{E44A87AD-2475-4385-B67F-8F9667EB4744}" type="presOf" srcId="{92BB7422-202B-462C-85A8-B68AE2970EA0}" destId="{D8C6F7B1-BDEC-4386-BE48-45EECB4FE37D}" srcOrd="0" destOrd="0" presId="urn:microsoft.com/office/officeart/2008/layout/LinedList"/>
    <dgm:cxn modelId="{3465AEEA-FE69-48E8-AEF5-BC163152E760}" type="presOf" srcId="{9223558F-9EA4-4DA1-9868-F5F9FF2C14D2}" destId="{D44668F4-B6DD-43DB-8E79-28223EDFB92E}" srcOrd="0" destOrd="0" presId="urn:microsoft.com/office/officeart/2008/layout/LinedList"/>
    <dgm:cxn modelId="{694F0AEC-188F-4431-9C9D-8D37CD680D5D}" srcId="{C559C223-7F3D-4E60-8F08-9102C6965D03}" destId="{8E94758E-989C-4B18-9C47-87205F3A3A18}" srcOrd="0" destOrd="0" parTransId="{ED62AF81-C9D3-4445-AFC0-FC9F535F4A96}" sibTransId="{6319D872-60CF-4BF3-96DA-D4EFF21BD77C}"/>
    <dgm:cxn modelId="{82CE3DE6-9B88-4BE1-8160-AE47637D11E6}" type="presParOf" srcId="{1572F98D-4B90-463D-9EB1-3D003B380473}" destId="{F0088860-0F5E-4B3B-8045-C5E7CE1A5A15}" srcOrd="0" destOrd="0" presId="urn:microsoft.com/office/officeart/2008/layout/LinedList"/>
    <dgm:cxn modelId="{A56DE6AE-95CE-43AD-AEC2-8D60F9D2E808}" type="presParOf" srcId="{1572F98D-4B90-463D-9EB1-3D003B380473}" destId="{D5CDC5F0-EC2C-4A12-8939-77DBC4FEB544}" srcOrd="1" destOrd="0" presId="urn:microsoft.com/office/officeart/2008/layout/LinedList"/>
    <dgm:cxn modelId="{70D8180D-F869-4038-9A12-2D44109BD258}" type="presParOf" srcId="{D5CDC5F0-EC2C-4A12-8939-77DBC4FEB544}" destId="{5A77B997-ADAB-43C7-A5B8-1A7731840B47}" srcOrd="0" destOrd="0" presId="urn:microsoft.com/office/officeart/2008/layout/LinedList"/>
    <dgm:cxn modelId="{768AC241-113B-411A-AA93-1E1E7C7D522A}" type="presParOf" srcId="{D5CDC5F0-EC2C-4A12-8939-77DBC4FEB544}" destId="{8C145708-023E-4A8A-A3CA-132A49692577}" srcOrd="1" destOrd="0" presId="urn:microsoft.com/office/officeart/2008/layout/LinedList"/>
    <dgm:cxn modelId="{BE42BF70-479E-420F-8AA2-809EB238AFA3}" type="presParOf" srcId="{1572F98D-4B90-463D-9EB1-3D003B380473}" destId="{C8ADB0AE-A700-499B-B7F7-1FBED6EDACFA}" srcOrd="2" destOrd="0" presId="urn:microsoft.com/office/officeart/2008/layout/LinedList"/>
    <dgm:cxn modelId="{E4E44589-4751-4DA0-8B3A-3814E8DC8F9D}" type="presParOf" srcId="{1572F98D-4B90-463D-9EB1-3D003B380473}" destId="{4903A7A9-08A3-4C54-B911-7D2F19C03FCE}" srcOrd="3" destOrd="0" presId="urn:microsoft.com/office/officeart/2008/layout/LinedList"/>
    <dgm:cxn modelId="{5B770405-7913-437C-A1D4-2BE3E3B69E04}" type="presParOf" srcId="{4903A7A9-08A3-4C54-B911-7D2F19C03FCE}" destId="{D8C6F7B1-BDEC-4386-BE48-45EECB4FE37D}" srcOrd="0" destOrd="0" presId="urn:microsoft.com/office/officeart/2008/layout/LinedList"/>
    <dgm:cxn modelId="{D6F108A0-978A-4718-B838-50C391CC34E3}" type="presParOf" srcId="{4903A7A9-08A3-4C54-B911-7D2F19C03FCE}" destId="{536FAFC3-54A8-4DCE-8823-E6BA42EB49B0}" srcOrd="1" destOrd="0" presId="urn:microsoft.com/office/officeart/2008/layout/LinedList"/>
    <dgm:cxn modelId="{7EE00023-A95A-42C4-9A71-6F77F0095A02}" type="presParOf" srcId="{1572F98D-4B90-463D-9EB1-3D003B380473}" destId="{D187D353-D25D-4A78-8FC1-C80A34905787}" srcOrd="4" destOrd="0" presId="urn:microsoft.com/office/officeart/2008/layout/LinedList"/>
    <dgm:cxn modelId="{8D523D3D-AA03-4370-906A-38910A80684F}" type="presParOf" srcId="{1572F98D-4B90-463D-9EB1-3D003B380473}" destId="{EDD0A109-1EB7-41DE-96DC-087E938C2FD0}" srcOrd="5" destOrd="0" presId="urn:microsoft.com/office/officeart/2008/layout/LinedList"/>
    <dgm:cxn modelId="{319326FA-B9B8-4A1F-95FC-CA7BE253BA8D}" type="presParOf" srcId="{EDD0A109-1EB7-41DE-96DC-087E938C2FD0}" destId="{D44668F4-B6DD-43DB-8E79-28223EDFB92E}" srcOrd="0" destOrd="0" presId="urn:microsoft.com/office/officeart/2008/layout/LinedList"/>
    <dgm:cxn modelId="{1759382B-64CF-450F-B285-23135607E060}" type="presParOf" srcId="{EDD0A109-1EB7-41DE-96DC-087E938C2FD0}" destId="{9D51FD5E-60F5-4D55-BEBE-6FFB4603EDCC}" srcOrd="1" destOrd="0" presId="urn:microsoft.com/office/officeart/2008/layout/LinedList"/>
    <dgm:cxn modelId="{1260273C-134D-4BB1-A910-41FC0BB2F01A}" type="presParOf" srcId="{1572F98D-4B90-463D-9EB1-3D003B380473}" destId="{BFF36FB9-D044-4C98-8894-0AEF9D69614D}" srcOrd="6" destOrd="0" presId="urn:microsoft.com/office/officeart/2008/layout/LinedList"/>
    <dgm:cxn modelId="{253088AC-912B-4B10-BB46-CEF9EA8989F3}" type="presParOf" srcId="{1572F98D-4B90-463D-9EB1-3D003B380473}" destId="{C131682F-342F-4BE5-A0C5-03DB2ABD59A9}" srcOrd="7" destOrd="0" presId="urn:microsoft.com/office/officeart/2008/layout/LinedList"/>
    <dgm:cxn modelId="{F515DFFD-6DB5-4C64-B1FB-020FBC4D81B1}" type="presParOf" srcId="{C131682F-342F-4BE5-A0C5-03DB2ABD59A9}" destId="{D6A8FB16-63C7-49C6-9668-A9D3000C1D02}" srcOrd="0" destOrd="0" presId="urn:microsoft.com/office/officeart/2008/layout/LinedList"/>
    <dgm:cxn modelId="{5BCB3F7F-7187-472A-A41F-63EE7DB1F3BB}" type="presParOf" srcId="{C131682F-342F-4BE5-A0C5-03DB2ABD59A9}" destId="{DF4D503B-08FF-4BAE-9C08-BDC929D56AB6}"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5_2" csCatId="accent5" phldr="1"/>
      <dgm:spPr/>
      <dgm:t>
        <a:bodyPr/>
        <a:lstStyle/>
        <a:p>
          <a:endParaRPr lang="en-US"/>
        </a:p>
      </dgm:t>
    </dgm:pt>
    <dgm:pt modelId="{194E8726-9974-4906-B63B-5D1A2B0D2597}">
      <dgm:prSet custT="1"/>
      <dgm:spPr/>
      <dgm:t>
        <a:bodyPr/>
        <a:lstStyle/>
        <a:p>
          <a:pPr>
            <a:lnSpc>
              <a:spcPct val="100000"/>
            </a:lnSpc>
          </a:pPr>
          <a:r>
            <a:rPr lang="en-US" sz="2000" b="1"/>
            <a:t>Create</a:t>
          </a:r>
          <a:r>
            <a:rPr lang="en-US" sz="2000"/>
            <a:t> a </a:t>
          </a:r>
          <a:r>
            <a:rPr lang="en-US" sz="2000" b="0"/>
            <a:t>new</a:t>
          </a:r>
          <a:r>
            <a:rPr lang="en-US" sz="2000"/>
            <a:t> branch: </a:t>
          </a:r>
          <a:r>
            <a:rPr lang="en-AU" sz="2000">
              <a:solidFill>
                <a:schemeClr val="accent1"/>
              </a:solidFill>
              <a:latin typeface="Lucida Console"/>
            </a:rPr>
            <a:t>git</a:t>
          </a:r>
          <a:r>
            <a:rPr lang="en-US" sz="2000">
              <a:solidFill>
                <a:schemeClr val="accent1"/>
              </a:solidFill>
              <a:latin typeface="Lucida Console" panose="020B0609040504020204" pitchFamily="49" charset="0"/>
            </a:rPr>
            <a:t> branch </a:t>
          </a:r>
          <a:r>
            <a:rPr lang="en-US" sz="2000" err="1">
              <a:solidFill>
                <a:schemeClr val="accent1"/>
              </a:solidFill>
              <a:latin typeface="Lucida Console" panose="020B0609040504020204" pitchFamily="49" charset="0"/>
            </a:rPr>
            <a:t>BranchName</a:t>
          </a:r>
          <a:r>
            <a:rPr lang="en-US" sz="2000" b="0">
              <a:solidFill>
                <a:schemeClr val="accent1"/>
              </a:solidFill>
            </a:rPr>
            <a:t> </a:t>
          </a:r>
          <a:endParaRPr lang="en-US" sz="2000">
            <a:solidFill>
              <a:schemeClr val="accent1"/>
            </a:solidFill>
          </a:endParaRPr>
        </a:p>
      </dgm:t>
    </dgm:pt>
    <dgm:pt modelId="{3C1EE5E5-06A9-4E49-AF53-CEFDB4EF81F9}" type="parTrans" cxnId="{39F01202-B2FF-46A1-BD23-789AFF6456D7}">
      <dgm:prSet/>
      <dgm:spPr/>
      <dgm:t>
        <a:bodyPr/>
        <a:lstStyle/>
        <a:p>
          <a:endParaRPr lang="en-US" sz="2000"/>
        </a:p>
      </dgm:t>
    </dgm:pt>
    <dgm:pt modelId="{09D55B1F-87D4-42BE-A5DC-AEB03E88FDB0}" type="sibTrans" cxnId="{39F01202-B2FF-46A1-BD23-789AFF6456D7}">
      <dgm:prSet/>
      <dgm:spPr/>
      <dgm:t>
        <a:bodyPr/>
        <a:lstStyle/>
        <a:p>
          <a:endParaRPr lang="en-US" sz="2000"/>
        </a:p>
      </dgm:t>
    </dgm:pt>
    <dgm:pt modelId="{D86929B2-181E-4059-A895-7B7B80F7C6B9}">
      <dgm:prSet custT="1"/>
      <dgm:spPr/>
      <dgm:t>
        <a:bodyPr/>
        <a:lstStyle/>
        <a:p>
          <a:pPr>
            <a:lnSpc>
              <a:spcPct val="100000"/>
            </a:lnSpc>
          </a:pPr>
          <a:r>
            <a:rPr lang="en-US" sz="2000"/>
            <a:t>Do </a:t>
          </a:r>
          <a:r>
            <a:rPr lang="en-US" sz="2000" b="1"/>
            <a:t>both</a:t>
          </a:r>
          <a:r>
            <a:rPr lang="en-US" sz="2000"/>
            <a:t> in one step: </a:t>
          </a:r>
          <a:r>
            <a:rPr lang="en-AU" sz="2000">
              <a:solidFill>
                <a:schemeClr val="accent1"/>
              </a:solidFill>
              <a:latin typeface="Lucida Console"/>
            </a:rPr>
            <a:t>git</a:t>
          </a:r>
          <a:r>
            <a:rPr lang="en-US" sz="2000">
              <a:solidFill>
                <a:schemeClr val="accent1"/>
              </a:solidFill>
              <a:latin typeface="Lucida Console" panose="020B0609040504020204" pitchFamily="49" charset="0"/>
            </a:rPr>
            <a:t> checkout –b </a:t>
          </a:r>
          <a:r>
            <a:rPr lang="en-US" sz="2000" err="1">
              <a:solidFill>
                <a:schemeClr val="accent1"/>
              </a:solidFill>
              <a:latin typeface="Lucida Console" panose="020B0609040504020204" pitchFamily="49" charset="0"/>
            </a:rPr>
            <a:t>BranchName</a:t>
          </a:r>
          <a:r>
            <a:rPr lang="en-US" sz="2000" b="0">
              <a:solidFill>
                <a:schemeClr val="accent1"/>
              </a:solidFill>
            </a:rPr>
            <a:t> </a:t>
          </a:r>
          <a:endParaRPr lang="en-US" sz="2000">
            <a:solidFill>
              <a:schemeClr val="accent1"/>
            </a:solidFill>
          </a:endParaRPr>
        </a:p>
      </dgm:t>
    </dgm:pt>
    <dgm:pt modelId="{B5C5E2E9-A150-40D7-A642-ACF94D83955C}" type="parTrans" cxnId="{96755D46-2A2C-4784-B138-6C986AD3A1AE}">
      <dgm:prSet/>
      <dgm:spPr/>
      <dgm:t>
        <a:bodyPr/>
        <a:lstStyle/>
        <a:p>
          <a:endParaRPr lang="en-US" sz="2000"/>
        </a:p>
      </dgm:t>
    </dgm:pt>
    <dgm:pt modelId="{0B12854F-9019-4A10-A0AF-6F2BCA6EE12A}" type="sibTrans" cxnId="{96755D46-2A2C-4784-B138-6C986AD3A1AE}">
      <dgm:prSet/>
      <dgm:spPr/>
      <dgm:t>
        <a:bodyPr/>
        <a:lstStyle/>
        <a:p>
          <a:endParaRPr lang="en-US" sz="2000"/>
        </a:p>
      </dgm:t>
    </dgm:pt>
    <dgm:pt modelId="{A12C441F-83F4-45AF-A2D1-7D0FE7388B2E}">
      <dgm:prSet custT="1"/>
      <dgm:spPr/>
      <dgm:t>
        <a:bodyPr/>
        <a:lstStyle/>
        <a:p>
          <a:pPr>
            <a:lnSpc>
              <a:spcPct val="100000"/>
            </a:lnSpc>
          </a:pPr>
          <a:r>
            <a:rPr lang="en-US" sz="2000" b="0"/>
            <a:t>Merge code </a:t>
          </a:r>
          <a:r>
            <a:rPr lang="en-US" sz="2000" b="1"/>
            <a:t>FROM</a:t>
          </a:r>
          <a:r>
            <a:rPr lang="en-US" sz="2000" b="0"/>
            <a:t> a branch </a:t>
          </a:r>
          <a:r>
            <a:rPr lang="en-US" sz="2000" b="1"/>
            <a:t>INTO</a:t>
          </a:r>
          <a:r>
            <a:rPr lang="en-US" sz="2000" b="0"/>
            <a:t> current branch:</a:t>
          </a:r>
          <a:r>
            <a:rPr lang="en-US" sz="2000" b="1"/>
            <a:t> </a:t>
          </a:r>
          <a:r>
            <a:rPr lang="en-AU" sz="2000">
              <a:solidFill>
                <a:schemeClr val="accent1"/>
              </a:solidFill>
              <a:latin typeface="Lucida Console"/>
            </a:rPr>
            <a:t>git</a:t>
          </a:r>
          <a:r>
            <a:rPr lang="en-US" sz="2000">
              <a:solidFill>
                <a:schemeClr val="accent1"/>
              </a:solidFill>
              <a:latin typeface="Lucida Console" panose="020B0609040504020204" pitchFamily="49" charset="0"/>
            </a:rPr>
            <a:t> merge </a:t>
          </a:r>
          <a:r>
            <a:rPr lang="en-US" sz="2000" err="1">
              <a:solidFill>
                <a:schemeClr val="accent1"/>
              </a:solidFill>
              <a:latin typeface="Lucida Console" panose="020B0609040504020204" pitchFamily="49" charset="0"/>
            </a:rPr>
            <a:t>BranchName</a:t>
          </a:r>
          <a:r>
            <a:rPr lang="en-US" sz="2000" b="0">
              <a:solidFill>
                <a:schemeClr val="accent1"/>
              </a:solidFill>
            </a:rPr>
            <a:t> </a:t>
          </a:r>
          <a:endParaRPr lang="en-US" sz="2000" b="1">
            <a:solidFill>
              <a:schemeClr val="accent1"/>
            </a:solidFill>
          </a:endParaRPr>
        </a:p>
      </dgm:t>
    </dgm:pt>
    <dgm:pt modelId="{F1E25163-C7F8-426E-8EF2-0BC2F5528E8F}" type="parTrans" cxnId="{E8A4FE05-0974-4DCB-9964-FBBE9B9EFB4A}">
      <dgm:prSet/>
      <dgm:spPr/>
      <dgm:t>
        <a:bodyPr/>
        <a:lstStyle/>
        <a:p>
          <a:endParaRPr lang="en-US" sz="2000"/>
        </a:p>
      </dgm:t>
    </dgm:pt>
    <dgm:pt modelId="{7D7596BA-3455-47F6-8069-7042B7FBCA29}" type="sibTrans" cxnId="{E8A4FE05-0974-4DCB-9964-FBBE9B9EFB4A}">
      <dgm:prSet/>
      <dgm:spPr/>
      <dgm:t>
        <a:bodyPr/>
        <a:lstStyle/>
        <a:p>
          <a:endParaRPr lang="en-US" sz="2000"/>
        </a:p>
      </dgm:t>
    </dgm:pt>
    <dgm:pt modelId="{D2E4FA26-A0C4-41B4-A5BD-D40689B9CB57}">
      <dgm:prSet custT="1"/>
      <dgm:spPr/>
      <dgm:t>
        <a:bodyPr/>
        <a:lstStyle/>
        <a:p>
          <a:pPr>
            <a:lnSpc>
              <a:spcPct val="100000"/>
            </a:lnSpc>
          </a:pPr>
          <a:r>
            <a:rPr lang="en-US" sz="2000" b="1"/>
            <a:t>Switch</a:t>
          </a:r>
          <a:r>
            <a:rPr lang="en-US" sz="2000"/>
            <a:t> to a branch: </a:t>
          </a:r>
          <a:r>
            <a:rPr lang="en-AU" sz="2000">
              <a:solidFill>
                <a:schemeClr val="accent1"/>
              </a:solidFill>
              <a:latin typeface="Lucida Console"/>
            </a:rPr>
            <a:t>git</a:t>
          </a:r>
          <a:r>
            <a:rPr lang="en-US" sz="2000">
              <a:solidFill>
                <a:schemeClr val="accent1"/>
              </a:solidFill>
              <a:latin typeface="Lucida Console" panose="020B0609040504020204" pitchFamily="49" charset="0"/>
            </a:rPr>
            <a:t> checkout </a:t>
          </a:r>
          <a:r>
            <a:rPr lang="en-US" sz="2000" err="1">
              <a:solidFill>
                <a:schemeClr val="accent1"/>
              </a:solidFill>
              <a:latin typeface="Lucida Console" panose="020B0609040504020204" pitchFamily="49" charset="0"/>
            </a:rPr>
            <a:t>BranchName</a:t>
          </a:r>
          <a:r>
            <a:rPr lang="en-US" sz="2000" b="0">
              <a:solidFill>
                <a:schemeClr val="accent1"/>
              </a:solidFill>
            </a:rPr>
            <a:t> </a:t>
          </a:r>
          <a:endParaRPr lang="en-US" sz="2000">
            <a:solidFill>
              <a:schemeClr val="accent1"/>
            </a:solidFill>
          </a:endParaRPr>
        </a:p>
      </dgm:t>
    </dgm:pt>
    <dgm:pt modelId="{2C94097E-D3C8-4F03-97AB-8A8C3DAE42CD}" type="parTrans" cxnId="{DFF450F3-4EC5-4EED-B2DE-1B43C82308EB}">
      <dgm:prSet/>
      <dgm:spPr/>
      <dgm:t>
        <a:bodyPr/>
        <a:lstStyle/>
        <a:p>
          <a:endParaRPr lang="en-US" sz="2000"/>
        </a:p>
      </dgm:t>
    </dgm:pt>
    <dgm:pt modelId="{B7E482C5-9A58-4BE3-8FC7-41459D9EF30E}" type="sibTrans" cxnId="{DFF450F3-4EC5-4EED-B2DE-1B43C82308EB}">
      <dgm:prSet/>
      <dgm:spPr/>
      <dgm:t>
        <a:bodyPr/>
        <a:lstStyle/>
        <a:p>
          <a:endParaRPr lang="en-US" sz="2000"/>
        </a:p>
      </dgm:t>
    </dgm:pt>
    <dgm:pt modelId="{56BE6B4B-9191-49C8-8283-3059385603A6}">
      <dgm:prSet custT="1"/>
      <dgm:spPr/>
      <dgm:t>
        <a:bodyPr/>
        <a:lstStyle/>
        <a:p>
          <a:pPr>
            <a:lnSpc>
              <a:spcPct val="100000"/>
            </a:lnSpc>
          </a:pPr>
          <a:r>
            <a:rPr lang="en-US" sz="2000" b="1"/>
            <a:t>Delete</a:t>
          </a:r>
          <a:r>
            <a:rPr lang="en-US" sz="2000" b="0"/>
            <a:t> a branch: </a:t>
          </a:r>
          <a:r>
            <a:rPr lang="en-AU" sz="2000">
              <a:solidFill>
                <a:schemeClr val="accent1"/>
              </a:solidFill>
              <a:latin typeface="Lucida Console"/>
            </a:rPr>
            <a:t>git</a:t>
          </a:r>
          <a:r>
            <a:rPr lang="en-US" sz="2000">
              <a:solidFill>
                <a:schemeClr val="accent1"/>
              </a:solidFill>
              <a:latin typeface="Lucida Console" panose="020B0609040504020204" pitchFamily="49" charset="0"/>
            </a:rPr>
            <a:t> branch –d </a:t>
          </a:r>
          <a:r>
            <a:rPr lang="en-US" sz="2000" err="1">
              <a:solidFill>
                <a:schemeClr val="accent1"/>
              </a:solidFill>
              <a:latin typeface="Lucida Console" panose="020B0609040504020204" pitchFamily="49" charset="0"/>
            </a:rPr>
            <a:t>BranchName</a:t>
          </a:r>
          <a:r>
            <a:rPr lang="en-US" sz="2000" b="0">
              <a:solidFill>
                <a:schemeClr val="accent1"/>
              </a:solidFill>
            </a:rPr>
            <a:t> </a:t>
          </a:r>
          <a:endParaRPr lang="en-US" sz="2000" b="1">
            <a:solidFill>
              <a:schemeClr val="accent1"/>
            </a:solidFill>
          </a:endParaRPr>
        </a:p>
      </dgm:t>
    </dgm:pt>
    <dgm:pt modelId="{DADA61EE-CED4-4876-8AD8-F1D5295AA836}" type="parTrans" cxnId="{0388D5C4-0869-4932-B2D8-E9255876DFA3}">
      <dgm:prSet/>
      <dgm:spPr/>
      <dgm:t>
        <a:bodyPr/>
        <a:lstStyle/>
        <a:p>
          <a:endParaRPr lang="en-US" sz="2000"/>
        </a:p>
      </dgm:t>
    </dgm:pt>
    <dgm:pt modelId="{D0C99E01-94EA-43F4-BC8D-9C014E174EA0}" type="sibTrans" cxnId="{0388D5C4-0869-4932-B2D8-E9255876DFA3}">
      <dgm:prSet/>
      <dgm:spPr/>
      <dgm:t>
        <a:bodyPr/>
        <a:lstStyle/>
        <a:p>
          <a:endParaRPr lang="en-US" sz="2000"/>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5" custLinFactNeighborX="0"/>
      <dgm:spPr/>
    </dgm:pt>
    <dgm:pt modelId="{F685725B-FCD5-46E6-854E-B057DAA3DF04}" type="pres">
      <dgm:prSet presAssocID="{194E8726-9974-4906-B63B-5D1A2B0D2597}"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ranching diagram with solid fill"/>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5">
        <dgm:presLayoutVars>
          <dgm:chMax val="0"/>
          <dgm:chPref val="0"/>
        </dgm:presLayoutVars>
      </dgm:prSet>
      <dgm:spPr/>
    </dgm:pt>
    <dgm:pt modelId="{CF5B1885-744B-42A4-873F-34AD375923C7}" type="pres">
      <dgm:prSet presAssocID="{09D55B1F-87D4-42BE-A5DC-AEB03E88FDB0}" presName="sibTrans" presStyleCnt="0"/>
      <dgm:spPr/>
    </dgm:pt>
    <dgm:pt modelId="{1740CA39-ADDD-499A-82B8-62E21CD20E60}" type="pres">
      <dgm:prSet presAssocID="{D2E4FA26-A0C4-41B4-A5BD-D40689B9CB57}" presName="compNode" presStyleCnt="0"/>
      <dgm:spPr/>
    </dgm:pt>
    <dgm:pt modelId="{B741ED80-2670-4C6C-9C67-DADFDA3811F5}" type="pres">
      <dgm:prSet presAssocID="{D2E4FA26-A0C4-41B4-A5BD-D40689B9CB57}" presName="bgRect" presStyleLbl="bgShp" presStyleIdx="1" presStyleCnt="5"/>
      <dgm:spPr/>
    </dgm:pt>
    <dgm:pt modelId="{D99E1B89-BE8F-4963-B466-BAD40C8840E0}" type="pres">
      <dgm:prSet presAssocID="{D2E4FA26-A0C4-41B4-A5BD-D40689B9CB57}"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Transfer with solid fill"/>
        </a:ext>
      </dgm:extLst>
    </dgm:pt>
    <dgm:pt modelId="{19F157A7-D07E-410F-A85F-C66C055E45EE}" type="pres">
      <dgm:prSet presAssocID="{D2E4FA26-A0C4-41B4-A5BD-D40689B9CB57}" presName="spaceRect" presStyleCnt="0"/>
      <dgm:spPr/>
    </dgm:pt>
    <dgm:pt modelId="{F3C63B25-DEDD-41F1-92EE-7E4C62FCFDA0}" type="pres">
      <dgm:prSet presAssocID="{D2E4FA26-A0C4-41B4-A5BD-D40689B9CB57}" presName="parTx" presStyleLbl="revTx" presStyleIdx="1" presStyleCnt="5">
        <dgm:presLayoutVars>
          <dgm:chMax val="0"/>
          <dgm:chPref val="0"/>
        </dgm:presLayoutVars>
      </dgm:prSet>
      <dgm:spPr/>
    </dgm:pt>
    <dgm:pt modelId="{F1820DF8-B9DC-44C3-BCF5-9CD294898B67}" type="pres">
      <dgm:prSet presAssocID="{B7E482C5-9A58-4BE3-8FC7-41459D9EF30E}" presName="sibTrans" presStyleCnt="0"/>
      <dgm:spPr/>
    </dgm:pt>
    <dgm:pt modelId="{53785311-4211-4A5F-AC57-B4D5552D0352}" type="pres">
      <dgm:prSet presAssocID="{D86929B2-181E-4059-A895-7B7B80F7C6B9}" presName="compNode" presStyleCnt="0"/>
      <dgm:spPr/>
    </dgm:pt>
    <dgm:pt modelId="{7AA102E4-F6D2-4E9C-83C0-1A5DEF30CB4F}" type="pres">
      <dgm:prSet presAssocID="{D86929B2-181E-4059-A895-7B7B80F7C6B9}" presName="bgRect" presStyleLbl="bgShp" presStyleIdx="2" presStyleCnt="5"/>
      <dgm:spPr/>
    </dgm:pt>
    <dgm:pt modelId="{C60F7E26-185C-40D7-A5BC-2629A92A041C}" type="pres">
      <dgm:prSet presAssocID="{D86929B2-181E-4059-A895-7B7B80F7C6B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Priorities with solid fill"/>
        </a:ext>
      </dgm:extLst>
    </dgm:pt>
    <dgm:pt modelId="{D820CE81-0139-48D0-BE28-4C04CE86DAE8}" type="pres">
      <dgm:prSet presAssocID="{D86929B2-181E-4059-A895-7B7B80F7C6B9}" presName="spaceRect" presStyleCnt="0"/>
      <dgm:spPr/>
    </dgm:pt>
    <dgm:pt modelId="{8295DE0F-E504-4089-9A1D-9A7FB52A041E}" type="pres">
      <dgm:prSet presAssocID="{D86929B2-181E-4059-A895-7B7B80F7C6B9}" presName="parTx" presStyleLbl="revTx" presStyleIdx="2" presStyleCnt="5">
        <dgm:presLayoutVars>
          <dgm:chMax val="0"/>
          <dgm:chPref val="0"/>
        </dgm:presLayoutVars>
      </dgm:prSet>
      <dgm:spPr/>
    </dgm:pt>
    <dgm:pt modelId="{E73212F7-33C5-402A-82E8-A2789DF29C59}" type="pres">
      <dgm:prSet presAssocID="{0B12854F-9019-4A10-A0AF-6F2BCA6EE12A}" presName="sibTrans" presStyleCnt="0"/>
      <dgm:spPr/>
    </dgm:pt>
    <dgm:pt modelId="{C6F51FFA-BCA3-4793-AED3-73DD5274323A}" type="pres">
      <dgm:prSet presAssocID="{A12C441F-83F4-45AF-A2D1-7D0FE7388B2E}" presName="compNode" presStyleCnt="0"/>
      <dgm:spPr/>
    </dgm:pt>
    <dgm:pt modelId="{8F741CF4-E961-4934-8B5D-3D1C534E1716}" type="pres">
      <dgm:prSet presAssocID="{A12C441F-83F4-45AF-A2D1-7D0FE7388B2E}" presName="bgRect" presStyleLbl="bgShp" presStyleIdx="3" presStyleCnt="5"/>
      <dgm:spPr/>
    </dgm:pt>
    <dgm:pt modelId="{F78D40EF-BE13-4441-880E-9E3FF1C694B3}" type="pres">
      <dgm:prSet presAssocID="{A12C441F-83F4-45AF-A2D1-7D0FE7388B2E}"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Minimize with solid fill"/>
        </a:ext>
      </dgm:extLst>
    </dgm:pt>
    <dgm:pt modelId="{A014ECC6-6D13-493D-867F-609C5D770B32}" type="pres">
      <dgm:prSet presAssocID="{A12C441F-83F4-45AF-A2D1-7D0FE7388B2E}" presName="spaceRect" presStyleCnt="0"/>
      <dgm:spPr/>
    </dgm:pt>
    <dgm:pt modelId="{994A7688-7FF7-4CE3-831B-18160A6D531F}" type="pres">
      <dgm:prSet presAssocID="{A12C441F-83F4-45AF-A2D1-7D0FE7388B2E}" presName="parTx" presStyleLbl="revTx" presStyleIdx="3" presStyleCnt="5">
        <dgm:presLayoutVars>
          <dgm:chMax val="0"/>
          <dgm:chPref val="0"/>
        </dgm:presLayoutVars>
      </dgm:prSet>
      <dgm:spPr/>
    </dgm:pt>
    <dgm:pt modelId="{1CA37C53-165B-47B1-A8D0-711A8BECCE8C}" type="pres">
      <dgm:prSet presAssocID="{7D7596BA-3455-47F6-8069-7042B7FBCA29}" presName="sibTrans" presStyleCnt="0"/>
      <dgm:spPr/>
    </dgm:pt>
    <dgm:pt modelId="{924BCAAA-AADC-4804-8F0E-1A1F4E177D86}" type="pres">
      <dgm:prSet presAssocID="{56BE6B4B-9191-49C8-8283-3059385603A6}" presName="compNode" presStyleCnt="0"/>
      <dgm:spPr/>
    </dgm:pt>
    <dgm:pt modelId="{423E4218-013E-487D-B490-0D2D6186B2F8}" type="pres">
      <dgm:prSet presAssocID="{56BE6B4B-9191-49C8-8283-3059385603A6}" presName="bgRect" presStyleLbl="bgShp" presStyleIdx="4" presStyleCnt="5"/>
      <dgm:spPr/>
    </dgm:pt>
    <dgm:pt modelId="{0B540889-F361-439A-850C-1B636B8957B5}" type="pres">
      <dgm:prSet presAssocID="{56BE6B4B-9191-49C8-8283-3059385603A6}"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lose with solid fill"/>
        </a:ext>
      </dgm:extLst>
    </dgm:pt>
    <dgm:pt modelId="{BC7BAF76-4D74-4C17-8909-51D2DF081DA8}" type="pres">
      <dgm:prSet presAssocID="{56BE6B4B-9191-49C8-8283-3059385603A6}" presName="spaceRect" presStyleCnt="0"/>
      <dgm:spPr/>
    </dgm:pt>
    <dgm:pt modelId="{1CAFCE01-DB1D-4EE2-A04E-5CFE36BD8565}" type="pres">
      <dgm:prSet presAssocID="{56BE6B4B-9191-49C8-8283-3059385603A6}" presName="parTx" presStyleLbl="revTx" presStyleIdx="4" presStyleCnt="5">
        <dgm:presLayoutVars>
          <dgm:chMax val="0"/>
          <dgm:chPref val="0"/>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E8A4FE05-0974-4DCB-9964-FBBE9B9EFB4A}" srcId="{0046BC35-C90C-4C26-ADB1-3D8D2F623AC9}" destId="{A12C441F-83F4-45AF-A2D1-7D0FE7388B2E}" srcOrd="3" destOrd="0" parTransId="{F1E25163-C7F8-426E-8EF2-0BC2F5528E8F}" sibTransId="{7D7596BA-3455-47F6-8069-7042B7FBCA29}"/>
    <dgm:cxn modelId="{09642415-5D56-46C2-872D-0C11E87AB840}" type="presOf" srcId="{194E8726-9974-4906-B63B-5D1A2B0D2597}" destId="{90365817-AC47-4315-A8D0-15DBBF0FB1DD}" srcOrd="0" destOrd="0" presId="urn:microsoft.com/office/officeart/2018/2/layout/IconVerticalSolidList"/>
    <dgm:cxn modelId="{C4D6C51D-F951-47E0-B303-FA0F9DD7A568}" type="presOf" srcId="{D2E4FA26-A0C4-41B4-A5BD-D40689B9CB57}" destId="{F3C63B25-DEDD-41F1-92EE-7E4C62FCFDA0}" srcOrd="0" destOrd="0" presId="urn:microsoft.com/office/officeart/2018/2/layout/IconVerticalSolidList"/>
    <dgm:cxn modelId="{84A31B31-16F9-498C-9D70-643235E7E9D0}" type="presOf" srcId="{56BE6B4B-9191-49C8-8283-3059385603A6}" destId="{1CAFCE01-DB1D-4EE2-A04E-5CFE36BD8565}" srcOrd="0" destOrd="0" presId="urn:microsoft.com/office/officeart/2018/2/layout/IconVerticalSolidList"/>
    <dgm:cxn modelId="{9A1AEE32-284E-4313-8A14-C6AE34553E6A}" type="presOf" srcId="{D86929B2-181E-4059-A895-7B7B80F7C6B9}" destId="{8295DE0F-E504-4089-9A1D-9A7FB52A041E}" srcOrd="0" destOrd="0" presId="urn:microsoft.com/office/officeart/2018/2/layout/IconVerticalSolidList"/>
    <dgm:cxn modelId="{96755D46-2A2C-4784-B138-6C986AD3A1AE}" srcId="{0046BC35-C90C-4C26-ADB1-3D8D2F623AC9}" destId="{D86929B2-181E-4059-A895-7B7B80F7C6B9}" srcOrd="2" destOrd="0" parTransId="{B5C5E2E9-A150-40D7-A642-ACF94D83955C}" sibTransId="{0B12854F-9019-4A10-A0AF-6F2BCA6EE12A}"/>
    <dgm:cxn modelId="{A675DA5A-2CB4-4D3B-B28F-73B916343209}" type="presOf" srcId="{A12C441F-83F4-45AF-A2D1-7D0FE7388B2E}" destId="{994A7688-7FF7-4CE3-831B-18160A6D531F}" srcOrd="0" destOrd="0" presId="urn:microsoft.com/office/officeart/2018/2/layout/IconVerticalSolidList"/>
    <dgm:cxn modelId="{F9238D7B-23B8-4C7F-B3B7-447626BD9983}" type="presOf" srcId="{0046BC35-C90C-4C26-ADB1-3D8D2F623AC9}" destId="{01C25ACE-EF3C-4589-81A7-437145DABC24}" srcOrd="0" destOrd="0" presId="urn:microsoft.com/office/officeart/2018/2/layout/IconVerticalSolidList"/>
    <dgm:cxn modelId="{0388D5C4-0869-4932-B2D8-E9255876DFA3}" srcId="{0046BC35-C90C-4C26-ADB1-3D8D2F623AC9}" destId="{56BE6B4B-9191-49C8-8283-3059385603A6}" srcOrd="4" destOrd="0" parTransId="{DADA61EE-CED4-4876-8AD8-F1D5295AA836}" sibTransId="{D0C99E01-94EA-43F4-BC8D-9C014E174EA0}"/>
    <dgm:cxn modelId="{DFF450F3-4EC5-4EED-B2DE-1B43C82308EB}" srcId="{0046BC35-C90C-4C26-ADB1-3D8D2F623AC9}" destId="{D2E4FA26-A0C4-41B4-A5BD-D40689B9CB57}" srcOrd="1" destOrd="0" parTransId="{2C94097E-D3C8-4F03-97AB-8A8C3DAE42CD}" sibTransId="{B7E482C5-9A58-4BE3-8FC7-41459D9EF30E}"/>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122A36DD-F02F-465A-AE17-52264881D28D}" type="presParOf" srcId="{01C25ACE-EF3C-4589-81A7-437145DABC24}" destId="{CF5B1885-744B-42A4-873F-34AD375923C7}" srcOrd="1" destOrd="0" presId="urn:microsoft.com/office/officeart/2018/2/layout/IconVerticalSolidList"/>
    <dgm:cxn modelId="{497CAA19-F1FB-4FAC-9E5F-D03544FAC935}" type="presParOf" srcId="{01C25ACE-EF3C-4589-81A7-437145DABC24}" destId="{1740CA39-ADDD-499A-82B8-62E21CD20E60}" srcOrd="2" destOrd="0" presId="urn:microsoft.com/office/officeart/2018/2/layout/IconVerticalSolidList"/>
    <dgm:cxn modelId="{CD4FE764-182F-4D24-AC98-41E69C7F0BF0}" type="presParOf" srcId="{1740CA39-ADDD-499A-82B8-62E21CD20E60}" destId="{B741ED80-2670-4C6C-9C67-DADFDA3811F5}" srcOrd="0" destOrd="0" presId="urn:microsoft.com/office/officeart/2018/2/layout/IconVerticalSolidList"/>
    <dgm:cxn modelId="{50715C33-11BF-4A46-BC12-0D1E5E10AA1F}" type="presParOf" srcId="{1740CA39-ADDD-499A-82B8-62E21CD20E60}" destId="{D99E1B89-BE8F-4963-B466-BAD40C8840E0}" srcOrd="1" destOrd="0" presId="urn:microsoft.com/office/officeart/2018/2/layout/IconVerticalSolidList"/>
    <dgm:cxn modelId="{1E58AB99-6B09-44D8-85EA-0C014699F4B9}" type="presParOf" srcId="{1740CA39-ADDD-499A-82B8-62E21CD20E60}" destId="{19F157A7-D07E-410F-A85F-C66C055E45EE}" srcOrd="2" destOrd="0" presId="urn:microsoft.com/office/officeart/2018/2/layout/IconVerticalSolidList"/>
    <dgm:cxn modelId="{86B1E067-3F92-42D9-A9DB-5CF9E57D3720}" type="presParOf" srcId="{1740CA39-ADDD-499A-82B8-62E21CD20E60}" destId="{F3C63B25-DEDD-41F1-92EE-7E4C62FCFDA0}" srcOrd="3" destOrd="0" presId="urn:microsoft.com/office/officeart/2018/2/layout/IconVerticalSolidList"/>
    <dgm:cxn modelId="{683EF294-0FE5-4994-8BB7-8A140D5B095B}" type="presParOf" srcId="{01C25ACE-EF3C-4589-81A7-437145DABC24}" destId="{F1820DF8-B9DC-44C3-BCF5-9CD294898B67}" srcOrd="3" destOrd="0" presId="urn:microsoft.com/office/officeart/2018/2/layout/IconVerticalSolidList"/>
    <dgm:cxn modelId="{1E568CC4-D158-4BA5-80D4-E6B65641684D}" type="presParOf" srcId="{01C25ACE-EF3C-4589-81A7-437145DABC24}" destId="{53785311-4211-4A5F-AC57-B4D5552D0352}" srcOrd="4" destOrd="0" presId="urn:microsoft.com/office/officeart/2018/2/layout/IconVerticalSolidList"/>
    <dgm:cxn modelId="{83BBB477-1882-4852-B3AA-7FF465E7179E}" type="presParOf" srcId="{53785311-4211-4A5F-AC57-B4D5552D0352}" destId="{7AA102E4-F6D2-4E9C-83C0-1A5DEF30CB4F}" srcOrd="0" destOrd="0" presId="urn:microsoft.com/office/officeart/2018/2/layout/IconVerticalSolidList"/>
    <dgm:cxn modelId="{415A0DB1-4DFB-4C5B-831D-772C388E4935}" type="presParOf" srcId="{53785311-4211-4A5F-AC57-B4D5552D0352}" destId="{C60F7E26-185C-40D7-A5BC-2629A92A041C}" srcOrd="1" destOrd="0" presId="urn:microsoft.com/office/officeart/2018/2/layout/IconVerticalSolidList"/>
    <dgm:cxn modelId="{FBD199D6-B67D-47FE-B4B1-0E0BA039F197}" type="presParOf" srcId="{53785311-4211-4A5F-AC57-B4D5552D0352}" destId="{D820CE81-0139-48D0-BE28-4C04CE86DAE8}" srcOrd="2" destOrd="0" presId="urn:microsoft.com/office/officeart/2018/2/layout/IconVerticalSolidList"/>
    <dgm:cxn modelId="{65D3F9EF-7E3D-49CF-B0CA-A3C13D3FC100}" type="presParOf" srcId="{53785311-4211-4A5F-AC57-B4D5552D0352}" destId="{8295DE0F-E504-4089-9A1D-9A7FB52A041E}" srcOrd="3" destOrd="0" presId="urn:microsoft.com/office/officeart/2018/2/layout/IconVerticalSolidList"/>
    <dgm:cxn modelId="{E9963A84-B520-4C1B-A5A6-7C111C2A05B0}" type="presParOf" srcId="{01C25ACE-EF3C-4589-81A7-437145DABC24}" destId="{E73212F7-33C5-402A-82E8-A2789DF29C59}" srcOrd="5" destOrd="0" presId="urn:microsoft.com/office/officeart/2018/2/layout/IconVerticalSolidList"/>
    <dgm:cxn modelId="{A6255303-ABED-49D5-84EA-1138647E5F02}" type="presParOf" srcId="{01C25ACE-EF3C-4589-81A7-437145DABC24}" destId="{C6F51FFA-BCA3-4793-AED3-73DD5274323A}" srcOrd="6" destOrd="0" presId="urn:microsoft.com/office/officeart/2018/2/layout/IconVerticalSolidList"/>
    <dgm:cxn modelId="{BCCC1A4C-B000-4747-93D9-1D425203B7FB}" type="presParOf" srcId="{C6F51FFA-BCA3-4793-AED3-73DD5274323A}" destId="{8F741CF4-E961-4934-8B5D-3D1C534E1716}" srcOrd="0" destOrd="0" presId="urn:microsoft.com/office/officeart/2018/2/layout/IconVerticalSolidList"/>
    <dgm:cxn modelId="{D1755E72-0677-45EE-8B0D-73EB95EE30B0}" type="presParOf" srcId="{C6F51FFA-BCA3-4793-AED3-73DD5274323A}" destId="{F78D40EF-BE13-4441-880E-9E3FF1C694B3}" srcOrd="1" destOrd="0" presId="urn:microsoft.com/office/officeart/2018/2/layout/IconVerticalSolidList"/>
    <dgm:cxn modelId="{0CD4AB39-5CEB-4659-ACDE-EED697C75C22}" type="presParOf" srcId="{C6F51FFA-BCA3-4793-AED3-73DD5274323A}" destId="{A014ECC6-6D13-493D-867F-609C5D770B32}" srcOrd="2" destOrd="0" presId="urn:microsoft.com/office/officeart/2018/2/layout/IconVerticalSolidList"/>
    <dgm:cxn modelId="{BA87C551-918D-4022-9EFC-52804CDBDA9B}" type="presParOf" srcId="{C6F51FFA-BCA3-4793-AED3-73DD5274323A}" destId="{994A7688-7FF7-4CE3-831B-18160A6D531F}" srcOrd="3" destOrd="0" presId="urn:microsoft.com/office/officeart/2018/2/layout/IconVerticalSolidList"/>
    <dgm:cxn modelId="{960D470D-82E6-408E-ADFC-9B87FC85447A}" type="presParOf" srcId="{01C25ACE-EF3C-4589-81A7-437145DABC24}" destId="{1CA37C53-165B-47B1-A8D0-711A8BECCE8C}" srcOrd="7" destOrd="0" presId="urn:microsoft.com/office/officeart/2018/2/layout/IconVerticalSolidList"/>
    <dgm:cxn modelId="{9B8E571F-0561-4FEE-BCA9-AE378399EC61}" type="presParOf" srcId="{01C25ACE-EF3C-4589-81A7-437145DABC24}" destId="{924BCAAA-AADC-4804-8F0E-1A1F4E177D86}" srcOrd="8" destOrd="0" presId="urn:microsoft.com/office/officeart/2018/2/layout/IconVerticalSolidList"/>
    <dgm:cxn modelId="{633E1753-9924-4024-931A-4CBB1CFD3482}" type="presParOf" srcId="{924BCAAA-AADC-4804-8F0E-1A1F4E177D86}" destId="{423E4218-013E-487D-B490-0D2D6186B2F8}" srcOrd="0" destOrd="0" presId="urn:microsoft.com/office/officeart/2018/2/layout/IconVerticalSolidList"/>
    <dgm:cxn modelId="{52BE529F-D692-4F9B-8FA7-EECC8D097659}" type="presParOf" srcId="{924BCAAA-AADC-4804-8F0E-1A1F4E177D86}" destId="{0B540889-F361-439A-850C-1B636B8957B5}" srcOrd="1" destOrd="0" presId="urn:microsoft.com/office/officeart/2018/2/layout/IconVerticalSolidList"/>
    <dgm:cxn modelId="{35BD1D69-9735-41E1-A280-73711101A7C1}" type="presParOf" srcId="{924BCAAA-AADC-4804-8F0E-1A1F4E177D86}" destId="{BC7BAF76-4D74-4C17-8909-51D2DF081DA8}" srcOrd="2" destOrd="0" presId="urn:microsoft.com/office/officeart/2018/2/layout/IconVerticalSolidList"/>
    <dgm:cxn modelId="{782BC28F-0DC9-4A93-9097-FDC22CB06372}" type="presParOf" srcId="{924BCAAA-AADC-4804-8F0E-1A1F4E177D86}" destId="{1CAFCE01-DB1D-4EE2-A04E-5CFE36BD8565}"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4_2" csCatId="accent4" phldr="1"/>
      <dgm:spPr/>
      <dgm:t>
        <a:bodyPr/>
        <a:lstStyle/>
        <a:p>
          <a:endParaRPr lang="en-US"/>
        </a:p>
      </dgm:t>
    </dgm:pt>
    <dgm:pt modelId="{194E8726-9974-4906-B63B-5D1A2B0D2597}">
      <dgm:prSet custT="1"/>
      <dgm:spPr/>
      <dgm:t>
        <a:bodyPr/>
        <a:lstStyle/>
        <a:p>
          <a:pPr>
            <a:lnSpc>
              <a:spcPct val="100000"/>
            </a:lnSpc>
          </a:pPr>
          <a:r>
            <a:rPr lang="en-US" sz="2000"/>
            <a:t>Keep them </a:t>
          </a:r>
          <a:r>
            <a:rPr lang="en-US" sz="2000" b="1"/>
            <a:t>simple</a:t>
          </a:r>
        </a:p>
      </dgm:t>
    </dgm:pt>
    <dgm:pt modelId="{3C1EE5E5-06A9-4E49-AF53-CEFDB4EF81F9}" type="parTrans" cxnId="{39F01202-B2FF-46A1-BD23-789AFF6456D7}">
      <dgm:prSet/>
      <dgm:spPr/>
      <dgm:t>
        <a:bodyPr/>
        <a:lstStyle/>
        <a:p>
          <a:endParaRPr lang="en-US" sz="2000"/>
        </a:p>
      </dgm:t>
    </dgm:pt>
    <dgm:pt modelId="{09D55B1F-87D4-42BE-A5DC-AEB03E88FDB0}" type="sibTrans" cxnId="{39F01202-B2FF-46A1-BD23-789AFF6456D7}">
      <dgm:prSet/>
      <dgm:spPr/>
      <dgm:t>
        <a:bodyPr/>
        <a:lstStyle/>
        <a:p>
          <a:endParaRPr lang="en-US" sz="2000"/>
        </a:p>
      </dgm:t>
    </dgm:pt>
    <dgm:pt modelId="{DF5A9C66-10B7-4C65-9D49-AA93E42F9AAF}">
      <dgm:prSet custT="1"/>
      <dgm:spPr/>
      <dgm:t>
        <a:bodyPr/>
        <a:lstStyle/>
        <a:p>
          <a:pPr>
            <a:lnSpc>
              <a:spcPct val="100000"/>
            </a:lnSpc>
          </a:pPr>
          <a:r>
            <a:rPr lang="en-US" sz="2000"/>
            <a:t>Use </a:t>
          </a:r>
          <a:r>
            <a:rPr lang="en-US" sz="2000" b="1"/>
            <a:t>feature branches </a:t>
          </a:r>
          <a:r>
            <a:rPr lang="en-US" sz="2000"/>
            <a:t>for new features or bug fixes in </a:t>
          </a:r>
          <a:r>
            <a:rPr lang="en-US" sz="2000" b="1"/>
            <a:t>large</a:t>
          </a:r>
          <a:r>
            <a:rPr lang="en-US" sz="2000"/>
            <a:t> projects with many teams</a:t>
          </a:r>
        </a:p>
      </dgm:t>
    </dgm:pt>
    <dgm:pt modelId="{0BFB51CB-0773-4D1F-B389-F088BC3A16F7}" type="parTrans" cxnId="{597A3875-CB60-4357-BE73-2771A2F1539F}">
      <dgm:prSet/>
      <dgm:spPr/>
      <dgm:t>
        <a:bodyPr/>
        <a:lstStyle/>
        <a:p>
          <a:endParaRPr lang="en-US" sz="2000"/>
        </a:p>
      </dgm:t>
    </dgm:pt>
    <dgm:pt modelId="{D22EF4A1-BB0B-4289-974E-0AC5BDA0B9B6}" type="sibTrans" cxnId="{597A3875-CB60-4357-BE73-2771A2F1539F}">
      <dgm:prSet/>
      <dgm:spPr/>
      <dgm:t>
        <a:bodyPr/>
        <a:lstStyle/>
        <a:p>
          <a:endParaRPr lang="en-US" sz="2000"/>
        </a:p>
      </dgm:t>
    </dgm:pt>
    <dgm:pt modelId="{3474B5E3-073B-4DB8-AF8A-F76E675268E8}">
      <dgm:prSet custT="1"/>
      <dgm:spPr/>
      <dgm:t>
        <a:bodyPr/>
        <a:lstStyle/>
        <a:p>
          <a:pPr>
            <a:lnSpc>
              <a:spcPct val="100000"/>
            </a:lnSpc>
          </a:pPr>
          <a:r>
            <a:rPr lang="en-US" sz="2000"/>
            <a:t>Use </a:t>
          </a:r>
          <a:r>
            <a:rPr lang="en-US" sz="2000" b="1"/>
            <a:t>release branches </a:t>
          </a:r>
          <a:r>
            <a:rPr lang="en-US" sz="2000"/>
            <a:t>on larger </a:t>
          </a:r>
          <a:r>
            <a:rPr lang="en-US" sz="2000" b="1"/>
            <a:t>multi-version</a:t>
          </a:r>
          <a:r>
            <a:rPr lang="en-US" sz="2000"/>
            <a:t> projects</a:t>
          </a:r>
        </a:p>
      </dgm:t>
    </dgm:pt>
    <dgm:pt modelId="{552D322A-8679-4DCB-9575-84901CC50683}" type="parTrans" cxnId="{A41007F4-513A-4BCF-A2A1-383BAE50DDBE}">
      <dgm:prSet/>
      <dgm:spPr/>
      <dgm:t>
        <a:bodyPr/>
        <a:lstStyle/>
        <a:p>
          <a:endParaRPr lang="en-US" sz="2000"/>
        </a:p>
      </dgm:t>
    </dgm:pt>
    <dgm:pt modelId="{D3105FF2-5CED-4D0A-B5BA-094C27580141}" type="sibTrans" cxnId="{A41007F4-513A-4BCF-A2A1-383BAE50DDBE}">
      <dgm:prSet/>
      <dgm:spPr/>
      <dgm:t>
        <a:bodyPr/>
        <a:lstStyle/>
        <a:p>
          <a:endParaRPr lang="en-US" sz="2000"/>
        </a:p>
      </dgm:t>
    </dgm:pt>
    <dgm:pt modelId="{99701695-CFA7-4FE6-8FD9-810FED40CD65}">
      <dgm:prSet custT="1"/>
      <dgm:spPr/>
      <dgm:t>
        <a:bodyPr/>
        <a:lstStyle/>
        <a:p>
          <a:pPr>
            <a:lnSpc>
              <a:spcPct val="100000"/>
            </a:lnSpc>
          </a:pPr>
          <a:r>
            <a:rPr lang="en-US" sz="2000"/>
            <a:t>Keep a high quality, </a:t>
          </a:r>
          <a:r>
            <a:rPr lang="en-US" sz="2000" b="1"/>
            <a:t>up-to-date main</a:t>
          </a:r>
          <a:r>
            <a:rPr lang="en-US" sz="2000"/>
            <a:t> branch that always builds</a:t>
          </a:r>
        </a:p>
      </dgm:t>
    </dgm:pt>
    <dgm:pt modelId="{3D61B89A-DD88-4D55-B372-5D8C0BB7013A}" type="parTrans" cxnId="{3FE2C755-9732-4B7B-9E20-2BE39ED27A66}">
      <dgm:prSet/>
      <dgm:spPr/>
      <dgm:t>
        <a:bodyPr/>
        <a:lstStyle/>
        <a:p>
          <a:endParaRPr lang="en-US" sz="2000"/>
        </a:p>
      </dgm:t>
    </dgm:pt>
    <dgm:pt modelId="{28D05412-38F9-4570-A6E5-D8E8271D6FC8}" type="sibTrans" cxnId="{3FE2C755-9732-4B7B-9E20-2BE39ED27A66}">
      <dgm:prSet/>
      <dgm:spPr/>
      <dgm:t>
        <a:bodyPr/>
        <a:lstStyle/>
        <a:p>
          <a:endParaRPr lang="en-US" sz="2000"/>
        </a:p>
      </dgm:t>
    </dgm:pt>
    <dgm:pt modelId="{50A3C9BF-DF57-483F-B48C-24FE0CD98255}">
      <dgm:prSet custT="1"/>
      <dgm:spPr/>
      <dgm:t>
        <a:bodyPr/>
        <a:lstStyle/>
        <a:p>
          <a:pPr>
            <a:lnSpc>
              <a:spcPct val="100000"/>
            </a:lnSpc>
          </a:pPr>
          <a:r>
            <a:rPr lang="en-US" sz="2000" b="1"/>
            <a:t>Merge</a:t>
          </a:r>
          <a:r>
            <a:rPr lang="en-US" sz="2000"/>
            <a:t> changes </a:t>
          </a:r>
          <a:r>
            <a:rPr lang="en-US" sz="2000" b="0"/>
            <a:t>from</a:t>
          </a:r>
          <a:r>
            <a:rPr lang="en-US" sz="2000"/>
            <a:t> the main branch </a:t>
          </a:r>
          <a:r>
            <a:rPr lang="en-US" sz="2000" b="1"/>
            <a:t>regularly</a:t>
          </a:r>
          <a:r>
            <a:rPr lang="en-US" sz="2000"/>
            <a:t> if working with multiple branches</a:t>
          </a:r>
        </a:p>
      </dgm:t>
    </dgm:pt>
    <dgm:pt modelId="{227FDAE9-0DB2-458C-B7EF-4FF9CB181E28}" type="parTrans" cxnId="{75FEEE67-295B-411B-B4B3-816D7F4D3814}">
      <dgm:prSet/>
      <dgm:spPr/>
      <dgm:t>
        <a:bodyPr/>
        <a:lstStyle/>
        <a:p>
          <a:endParaRPr lang="en-US" sz="2000"/>
        </a:p>
      </dgm:t>
    </dgm:pt>
    <dgm:pt modelId="{90762A30-120D-42B3-B240-E8C7F6F20D5C}" type="sibTrans" cxnId="{75FEEE67-295B-411B-B4B3-816D7F4D3814}">
      <dgm:prSet/>
      <dgm:spPr/>
      <dgm:t>
        <a:bodyPr/>
        <a:lstStyle/>
        <a:p>
          <a:endParaRPr lang="en-US" sz="2000"/>
        </a:p>
      </dgm:t>
    </dgm:pt>
    <dgm:pt modelId="{CEA3A2AD-3DEF-4609-8DA1-15921A20A9AD}">
      <dgm:prSet custT="1"/>
      <dgm:spPr/>
      <dgm:t>
        <a:bodyPr/>
        <a:lstStyle/>
        <a:p>
          <a:pPr>
            <a:lnSpc>
              <a:spcPct val="100000"/>
            </a:lnSpc>
          </a:pPr>
          <a:r>
            <a:rPr lang="en-US" sz="2000"/>
            <a:t>Use a </a:t>
          </a:r>
          <a:r>
            <a:rPr lang="en-US" sz="2000" b="1"/>
            <a:t>dev branch </a:t>
          </a:r>
          <a:r>
            <a:rPr lang="en-US" sz="2000"/>
            <a:t>to keep in-progress code away from the main branch</a:t>
          </a:r>
        </a:p>
      </dgm:t>
    </dgm:pt>
    <dgm:pt modelId="{E8562926-CF1F-4BED-9E06-408E8F6677DD}" type="parTrans" cxnId="{02D12463-C6CF-48BD-91E2-D6BA4D1950A7}">
      <dgm:prSet/>
      <dgm:spPr/>
      <dgm:t>
        <a:bodyPr/>
        <a:lstStyle/>
        <a:p>
          <a:endParaRPr lang="en-US" sz="2000"/>
        </a:p>
      </dgm:t>
    </dgm:pt>
    <dgm:pt modelId="{3506C5F7-B8A7-4902-9202-6261986B040D}" type="sibTrans" cxnId="{02D12463-C6CF-48BD-91E2-D6BA4D1950A7}">
      <dgm:prSet/>
      <dgm:spPr/>
      <dgm:t>
        <a:bodyPr/>
        <a:lstStyle/>
        <a:p>
          <a:endParaRPr lang="en-US" sz="2000"/>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6"/>
      <dgm:spPr/>
    </dgm:pt>
    <dgm:pt modelId="{F685725B-FCD5-46E6-854E-B057DAA3DF04}" type="pres">
      <dgm:prSet presAssocID="{194E8726-9974-4906-B63B-5D1A2B0D259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Artificial Intelligence with solid fill"/>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6">
        <dgm:presLayoutVars>
          <dgm:chMax val="0"/>
          <dgm:chPref val="0"/>
        </dgm:presLayoutVars>
      </dgm:prSet>
      <dgm:spPr/>
    </dgm:pt>
    <dgm:pt modelId="{2C25406E-97F9-49B1-A460-9E59D5CB10E0}" type="pres">
      <dgm:prSet presAssocID="{09D55B1F-87D4-42BE-A5DC-AEB03E88FDB0}" presName="sibTrans" presStyleCnt="0"/>
      <dgm:spPr/>
    </dgm:pt>
    <dgm:pt modelId="{ADB6BFA5-D74F-41B6-BB70-82505139DF63}" type="pres">
      <dgm:prSet presAssocID="{99701695-CFA7-4FE6-8FD9-810FED40CD65}" presName="compNode" presStyleCnt="0"/>
      <dgm:spPr/>
    </dgm:pt>
    <dgm:pt modelId="{758AE0BD-321A-4CC5-A051-915683EDB9F9}" type="pres">
      <dgm:prSet presAssocID="{99701695-CFA7-4FE6-8FD9-810FED40CD65}" presName="bgRect" presStyleLbl="bgShp" presStyleIdx="1" presStyleCnt="6"/>
      <dgm:spPr/>
    </dgm:pt>
    <dgm:pt modelId="{08342914-66E3-4A4B-B9DA-60B92585FF5B}" type="pres">
      <dgm:prSet presAssocID="{99701695-CFA7-4FE6-8FD9-810FED40CD65}"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heckbox Checked with solid fill"/>
        </a:ext>
      </dgm:extLst>
    </dgm:pt>
    <dgm:pt modelId="{21E115D3-03EA-4FF3-B223-75D03B73CFAB}" type="pres">
      <dgm:prSet presAssocID="{99701695-CFA7-4FE6-8FD9-810FED40CD65}" presName="spaceRect" presStyleCnt="0"/>
      <dgm:spPr/>
    </dgm:pt>
    <dgm:pt modelId="{E27E0CE1-6F05-4378-B0D4-6A63D3E2A0A5}" type="pres">
      <dgm:prSet presAssocID="{99701695-CFA7-4FE6-8FD9-810FED40CD65}" presName="parTx" presStyleLbl="revTx" presStyleIdx="1" presStyleCnt="6">
        <dgm:presLayoutVars>
          <dgm:chMax val="0"/>
          <dgm:chPref val="0"/>
        </dgm:presLayoutVars>
      </dgm:prSet>
      <dgm:spPr/>
    </dgm:pt>
    <dgm:pt modelId="{69FC7ADD-F73D-4373-ABB4-99DB743DEAB7}" type="pres">
      <dgm:prSet presAssocID="{28D05412-38F9-4570-A6E5-D8E8271D6FC8}" presName="sibTrans" presStyleCnt="0"/>
      <dgm:spPr/>
    </dgm:pt>
    <dgm:pt modelId="{441B4472-DB1C-4BB4-BF13-0D93A9030899}" type="pres">
      <dgm:prSet presAssocID="{CEA3A2AD-3DEF-4609-8DA1-15921A20A9AD}" presName="compNode" presStyleCnt="0"/>
      <dgm:spPr/>
    </dgm:pt>
    <dgm:pt modelId="{1E4B4EDB-2072-4AC0-A9BF-5D788861C579}" type="pres">
      <dgm:prSet presAssocID="{CEA3A2AD-3DEF-4609-8DA1-15921A20A9AD}" presName="bgRect" presStyleLbl="bgShp" presStyleIdx="2" presStyleCnt="6"/>
      <dgm:spPr/>
    </dgm:pt>
    <dgm:pt modelId="{B917CFB6-86A6-4A72-A5F7-63C25D2656EA}" type="pres">
      <dgm:prSet presAssocID="{CEA3A2AD-3DEF-4609-8DA1-15921A20A9AD}"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Fork In Road with solid fill"/>
        </a:ext>
      </dgm:extLst>
    </dgm:pt>
    <dgm:pt modelId="{12F9EEAC-CB4D-4682-ADBF-4BDA851AE93A}" type="pres">
      <dgm:prSet presAssocID="{CEA3A2AD-3DEF-4609-8DA1-15921A20A9AD}" presName="spaceRect" presStyleCnt="0"/>
      <dgm:spPr/>
    </dgm:pt>
    <dgm:pt modelId="{1E6A30BD-5651-4AA3-ADAD-0DA8F2198F7C}" type="pres">
      <dgm:prSet presAssocID="{CEA3A2AD-3DEF-4609-8DA1-15921A20A9AD}" presName="parTx" presStyleLbl="revTx" presStyleIdx="2" presStyleCnt="6">
        <dgm:presLayoutVars>
          <dgm:chMax val="0"/>
          <dgm:chPref val="0"/>
        </dgm:presLayoutVars>
      </dgm:prSet>
      <dgm:spPr/>
    </dgm:pt>
    <dgm:pt modelId="{9246AEAC-FBB8-4367-B84F-01993A696A3C}" type="pres">
      <dgm:prSet presAssocID="{3506C5F7-B8A7-4902-9202-6261986B040D}" presName="sibTrans" presStyleCnt="0"/>
      <dgm:spPr/>
    </dgm:pt>
    <dgm:pt modelId="{5DA8761A-268C-436D-93AA-3C21D6D84041}" type="pres">
      <dgm:prSet presAssocID="{DF5A9C66-10B7-4C65-9D49-AA93E42F9AAF}" presName="compNode" presStyleCnt="0"/>
      <dgm:spPr/>
    </dgm:pt>
    <dgm:pt modelId="{A44BBA08-8DEC-4D6D-B805-A47E6E867FFF}" type="pres">
      <dgm:prSet presAssocID="{DF5A9C66-10B7-4C65-9D49-AA93E42F9AAF}" presName="bgRect" presStyleLbl="bgShp" presStyleIdx="3" presStyleCnt="6"/>
      <dgm:spPr/>
    </dgm:pt>
    <dgm:pt modelId="{3C3F7450-142E-4DF0-9E18-322B707C50C8}" type="pres">
      <dgm:prSet presAssocID="{DF5A9C66-10B7-4C65-9D49-AA93E42F9AAF}"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Juggler with solid fill"/>
        </a:ext>
      </dgm:extLst>
    </dgm:pt>
    <dgm:pt modelId="{4E093536-5F25-449D-B679-F82C8220990F}" type="pres">
      <dgm:prSet presAssocID="{DF5A9C66-10B7-4C65-9D49-AA93E42F9AAF}" presName="spaceRect" presStyleCnt="0"/>
      <dgm:spPr/>
    </dgm:pt>
    <dgm:pt modelId="{8E8C697C-A4A9-4BA0-8850-C900DD52C1C4}" type="pres">
      <dgm:prSet presAssocID="{DF5A9C66-10B7-4C65-9D49-AA93E42F9AAF}" presName="parTx" presStyleLbl="revTx" presStyleIdx="3" presStyleCnt="6">
        <dgm:presLayoutVars>
          <dgm:chMax val="0"/>
          <dgm:chPref val="0"/>
        </dgm:presLayoutVars>
      </dgm:prSet>
      <dgm:spPr/>
    </dgm:pt>
    <dgm:pt modelId="{A02489BB-FEE9-43B6-AAC6-17424D038DF1}" type="pres">
      <dgm:prSet presAssocID="{D22EF4A1-BB0B-4289-974E-0AC5BDA0B9B6}" presName="sibTrans" presStyleCnt="0"/>
      <dgm:spPr/>
    </dgm:pt>
    <dgm:pt modelId="{3BA21798-9C6C-4C50-A1CD-9C145D02E437}" type="pres">
      <dgm:prSet presAssocID="{3474B5E3-073B-4DB8-AF8A-F76E675268E8}" presName="compNode" presStyleCnt="0"/>
      <dgm:spPr/>
    </dgm:pt>
    <dgm:pt modelId="{6EC0197D-E250-488A-92A8-0CC3BBE07638}" type="pres">
      <dgm:prSet presAssocID="{3474B5E3-073B-4DB8-AF8A-F76E675268E8}" presName="bgRect" presStyleLbl="bgShp" presStyleIdx="4" presStyleCnt="6"/>
      <dgm:spPr/>
    </dgm:pt>
    <dgm:pt modelId="{1FB780EB-9810-48F9-8712-AFAD80ECF7FD}" type="pres">
      <dgm:prSet presAssocID="{3474B5E3-073B-4DB8-AF8A-F76E675268E8}"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Branching diagram with solid fill"/>
        </a:ext>
      </dgm:extLst>
    </dgm:pt>
    <dgm:pt modelId="{391CCA09-BC1C-40EF-BD8C-D479E367449B}" type="pres">
      <dgm:prSet presAssocID="{3474B5E3-073B-4DB8-AF8A-F76E675268E8}" presName="spaceRect" presStyleCnt="0"/>
      <dgm:spPr/>
    </dgm:pt>
    <dgm:pt modelId="{45CA9C20-5C16-403B-806B-78E45DF77B58}" type="pres">
      <dgm:prSet presAssocID="{3474B5E3-073B-4DB8-AF8A-F76E675268E8}" presName="parTx" presStyleLbl="revTx" presStyleIdx="4" presStyleCnt="6">
        <dgm:presLayoutVars>
          <dgm:chMax val="0"/>
          <dgm:chPref val="0"/>
        </dgm:presLayoutVars>
      </dgm:prSet>
      <dgm:spPr/>
    </dgm:pt>
    <dgm:pt modelId="{9763D166-BBC8-4871-836E-9F537DBA1724}" type="pres">
      <dgm:prSet presAssocID="{D3105FF2-5CED-4D0A-B5BA-094C27580141}" presName="sibTrans" presStyleCnt="0"/>
      <dgm:spPr/>
    </dgm:pt>
    <dgm:pt modelId="{FE33FA0F-7018-4CD4-A51E-2825BEDEE6EC}" type="pres">
      <dgm:prSet presAssocID="{50A3C9BF-DF57-483F-B48C-24FE0CD98255}" presName="compNode" presStyleCnt="0"/>
      <dgm:spPr/>
    </dgm:pt>
    <dgm:pt modelId="{189C0E66-9311-47E5-8B2A-2556219332B4}" type="pres">
      <dgm:prSet presAssocID="{50A3C9BF-DF57-483F-B48C-24FE0CD98255}" presName="bgRect" presStyleLbl="bgShp" presStyleIdx="5" presStyleCnt="6"/>
      <dgm:spPr/>
    </dgm:pt>
    <dgm:pt modelId="{305D0146-840D-41FF-A296-AF71FBB1E31A}" type="pres">
      <dgm:prSet presAssocID="{50A3C9BF-DF57-483F-B48C-24FE0CD98255}"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Shuffle with solid fill"/>
        </a:ext>
      </dgm:extLst>
    </dgm:pt>
    <dgm:pt modelId="{84535969-E0E0-4200-AFB2-D87E8A231876}" type="pres">
      <dgm:prSet presAssocID="{50A3C9BF-DF57-483F-B48C-24FE0CD98255}" presName="spaceRect" presStyleCnt="0"/>
      <dgm:spPr/>
    </dgm:pt>
    <dgm:pt modelId="{A19D4439-F4B6-4A76-B9A6-7898276B89BA}" type="pres">
      <dgm:prSet presAssocID="{50A3C9BF-DF57-483F-B48C-24FE0CD98255}" presName="parTx" presStyleLbl="revTx" presStyleIdx="5" presStyleCnt="6">
        <dgm:presLayoutVars>
          <dgm:chMax val="0"/>
          <dgm:chPref val="0"/>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09642415-5D56-46C2-872D-0C11E87AB840}" type="presOf" srcId="{194E8726-9974-4906-B63B-5D1A2B0D2597}" destId="{90365817-AC47-4315-A8D0-15DBBF0FB1DD}" srcOrd="0" destOrd="0" presId="urn:microsoft.com/office/officeart/2018/2/layout/IconVerticalSolidList"/>
    <dgm:cxn modelId="{90D1412F-5199-405D-B47C-9CC1B61E76E8}" type="presOf" srcId="{99701695-CFA7-4FE6-8FD9-810FED40CD65}" destId="{E27E0CE1-6F05-4378-B0D4-6A63D3E2A0A5}" srcOrd="0" destOrd="0" presId="urn:microsoft.com/office/officeart/2018/2/layout/IconVerticalSolidList"/>
    <dgm:cxn modelId="{02D12463-C6CF-48BD-91E2-D6BA4D1950A7}" srcId="{0046BC35-C90C-4C26-ADB1-3D8D2F623AC9}" destId="{CEA3A2AD-3DEF-4609-8DA1-15921A20A9AD}" srcOrd="2" destOrd="0" parTransId="{E8562926-CF1F-4BED-9E06-408E8F6677DD}" sibTransId="{3506C5F7-B8A7-4902-9202-6261986B040D}"/>
    <dgm:cxn modelId="{75FEEE67-295B-411B-B4B3-816D7F4D3814}" srcId="{0046BC35-C90C-4C26-ADB1-3D8D2F623AC9}" destId="{50A3C9BF-DF57-483F-B48C-24FE0CD98255}" srcOrd="5" destOrd="0" parTransId="{227FDAE9-0DB2-458C-B7EF-4FF9CB181E28}" sibTransId="{90762A30-120D-42B3-B240-E8C7F6F20D5C}"/>
    <dgm:cxn modelId="{C3B26268-163B-41A7-AE5C-76CD94ABDB5B}" type="presOf" srcId="{3474B5E3-073B-4DB8-AF8A-F76E675268E8}" destId="{45CA9C20-5C16-403B-806B-78E45DF77B58}" srcOrd="0" destOrd="0" presId="urn:microsoft.com/office/officeart/2018/2/layout/IconVerticalSolidList"/>
    <dgm:cxn modelId="{597A3875-CB60-4357-BE73-2771A2F1539F}" srcId="{0046BC35-C90C-4C26-ADB1-3D8D2F623AC9}" destId="{DF5A9C66-10B7-4C65-9D49-AA93E42F9AAF}" srcOrd="3" destOrd="0" parTransId="{0BFB51CB-0773-4D1F-B389-F088BC3A16F7}" sibTransId="{D22EF4A1-BB0B-4289-974E-0AC5BDA0B9B6}"/>
    <dgm:cxn modelId="{3FE2C755-9732-4B7B-9E20-2BE39ED27A66}" srcId="{0046BC35-C90C-4C26-ADB1-3D8D2F623AC9}" destId="{99701695-CFA7-4FE6-8FD9-810FED40CD65}" srcOrd="1" destOrd="0" parTransId="{3D61B89A-DD88-4D55-B372-5D8C0BB7013A}" sibTransId="{28D05412-38F9-4570-A6E5-D8E8271D6FC8}"/>
    <dgm:cxn modelId="{2AD57A79-352E-4622-9B34-6ACEEF41CADB}" type="presOf" srcId="{DF5A9C66-10B7-4C65-9D49-AA93E42F9AAF}" destId="{8E8C697C-A4A9-4BA0-8850-C900DD52C1C4}" srcOrd="0" destOrd="0" presId="urn:microsoft.com/office/officeart/2018/2/layout/IconVerticalSolidList"/>
    <dgm:cxn modelId="{F9238D7B-23B8-4C7F-B3B7-447626BD9983}" type="presOf" srcId="{0046BC35-C90C-4C26-ADB1-3D8D2F623AC9}" destId="{01C25ACE-EF3C-4589-81A7-437145DABC24}" srcOrd="0" destOrd="0" presId="urn:microsoft.com/office/officeart/2018/2/layout/IconVerticalSolidList"/>
    <dgm:cxn modelId="{B43C408B-8213-433F-95A9-639E511BF84D}" type="presOf" srcId="{CEA3A2AD-3DEF-4609-8DA1-15921A20A9AD}" destId="{1E6A30BD-5651-4AA3-ADAD-0DA8F2198F7C}" srcOrd="0" destOrd="0" presId="urn:microsoft.com/office/officeart/2018/2/layout/IconVerticalSolidList"/>
    <dgm:cxn modelId="{53F593CB-DA06-409E-B31F-F90E29C7BDDA}" type="presOf" srcId="{50A3C9BF-DF57-483F-B48C-24FE0CD98255}" destId="{A19D4439-F4B6-4A76-B9A6-7898276B89BA}" srcOrd="0" destOrd="0" presId="urn:microsoft.com/office/officeart/2018/2/layout/IconVerticalSolidList"/>
    <dgm:cxn modelId="{A41007F4-513A-4BCF-A2A1-383BAE50DDBE}" srcId="{0046BC35-C90C-4C26-ADB1-3D8D2F623AC9}" destId="{3474B5E3-073B-4DB8-AF8A-F76E675268E8}" srcOrd="4" destOrd="0" parTransId="{552D322A-8679-4DCB-9575-84901CC50683}" sibTransId="{D3105FF2-5CED-4D0A-B5BA-094C27580141}"/>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39B542C6-A1AF-40E0-9B78-34008D5C2C2A}" type="presParOf" srcId="{01C25ACE-EF3C-4589-81A7-437145DABC24}" destId="{2C25406E-97F9-49B1-A460-9E59D5CB10E0}" srcOrd="1" destOrd="0" presId="urn:microsoft.com/office/officeart/2018/2/layout/IconVerticalSolidList"/>
    <dgm:cxn modelId="{23069366-43DE-42BE-B352-0C4F689D47E2}" type="presParOf" srcId="{01C25ACE-EF3C-4589-81A7-437145DABC24}" destId="{ADB6BFA5-D74F-41B6-BB70-82505139DF63}" srcOrd="2" destOrd="0" presId="urn:microsoft.com/office/officeart/2018/2/layout/IconVerticalSolidList"/>
    <dgm:cxn modelId="{0C0CFCA7-155D-45E3-BF69-70B57E2DCBC0}" type="presParOf" srcId="{ADB6BFA5-D74F-41B6-BB70-82505139DF63}" destId="{758AE0BD-321A-4CC5-A051-915683EDB9F9}" srcOrd="0" destOrd="0" presId="urn:microsoft.com/office/officeart/2018/2/layout/IconVerticalSolidList"/>
    <dgm:cxn modelId="{C1543F45-F8C0-435C-95C6-2CB7573FB49B}" type="presParOf" srcId="{ADB6BFA5-D74F-41B6-BB70-82505139DF63}" destId="{08342914-66E3-4A4B-B9DA-60B92585FF5B}" srcOrd="1" destOrd="0" presId="urn:microsoft.com/office/officeart/2018/2/layout/IconVerticalSolidList"/>
    <dgm:cxn modelId="{DAA9FA0E-57B4-421C-AA10-0949F90255F0}" type="presParOf" srcId="{ADB6BFA5-D74F-41B6-BB70-82505139DF63}" destId="{21E115D3-03EA-4FF3-B223-75D03B73CFAB}" srcOrd="2" destOrd="0" presId="urn:microsoft.com/office/officeart/2018/2/layout/IconVerticalSolidList"/>
    <dgm:cxn modelId="{A9E299BC-990E-4987-BCAD-4C1593F6FF1C}" type="presParOf" srcId="{ADB6BFA5-D74F-41B6-BB70-82505139DF63}" destId="{E27E0CE1-6F05-4378-B0D4-6A63D3E2A0A5}" srcOrd="3" destOrd="0" presId="urn:microsoft.com/office/officeart/2018/2/layout/IconVerticalSolidList"/>
    <dgm:cxn modelId="{CE4E39C7-5C07-44C3-AECE-EC084CE418D3}" type="presParOf" srcId="{01C25ACE-EF3C-4589-81A7-437145DABC24}" destId="{69FC7ADD-F73D-4373-ABB4-99DB743DEAB7}" srcOrd="3" destOrd="0" presId="urn:microsoft.com/office/officeart/2018/2/layout/IconVerticalSolidList"/>
    <dgm:cxn modelId="{9F353A09-E5C7-49B5-A7CE-9119D7C0D95A}" type="presParOf" srcId="{01C25ACE-EF3C-4589-81A7-437145DABC24}" destId="{441B4472-DB1C-4BB4-BF13-0D93A9030899}" srcOrd="4" destOrd="0" presId="urn:microsoft.com/office/officeart/2018/2/layout/IconVerticalSolidList"/>
    <dgm:cxn modelId="{BBDDFE3B-0607-4988-BBD7-EB31E137ED5F}" type="presParOf" srcId="{441B4472-DB1C-4BB4-BF13-0D93A9030899}" destId="{1E4B4EDB-2072-4AC0-A9BF-5D788861C579}" srcOrd="0" destOrd="0" presId="urn:microsoft.com/office/officeart/2018/2/layout/IconVerticalSolidList"/>
    <dgm:cxn modelId="{B745757D-FDB6-416C-A325-D119529B47DB}" type="presParOf" srcId="{441B4472-DB1C-4BB4-BF13-0D93A9030899}" destId="{B917CFB6-86A6-4A72-A5F7-63C25D2656EA}" srcOrd="1" destOrd="0" presId="urn:microsoft.com/office/officeart/2018/2/layout/IconVerticalSolidList"/>
    <dgm:cxn modelId="{3A34B672-97F6-49DD-A36F-58350C06D58D}" type="presParOf" srcId="{441B4472-DB1C-4BB4-BF13-0D93A9030899}" destId="{12F9EEAC-CB4D-4682-ADBF-4BDA851AE93A}" srcOrd="2" destOrd="0" presId="urn:microsoft.com/office/officeart/2018/2/layout/IconVerticalSolidList"/>
    <dgm:cxn modelId="{917FA266-E67C-4463-8909-E00B3920367C}" type="presParOf" srcId="{441B4472-DB1C-4BB4-BF13-0D93A9030899}" destId="{1E6A30BD-5651-4AA3-ADAD-0DA8F2198F7C}" srcOrd="3" destOrd="0" presId="urn:microsoft.com/office/officeart/2018/2/layout/IconVerticalSolidList"/>
    <dgm:cxn modelId="{67DADF48-5097-478B-8C6E-1BB664AA5396}" type="presParOf" srcId="{01C25ACE-EF3C-4589-81A7-437145DABC24}" destId="{9246AEAC-FBB8-4367-B84F-01993A696A3C}" srcOrd="5" destOrd="0" presId="urn:microsoft.com/office/officeart/2018/2/layout/IconVerticalSolidList"/>
    <dgm:cxn modelId="{B0829855-C56A-4390-8FC4-599AE2A43A8C}" type="presParOf" srcId="{01C25ACE-EF3C-4589-81A7-437145DABC24}" destId="{5DA8761A-268C-436D-93AA-3C21D6D84041}" srcOrd="6" destOrd="0" presId="urn:microsoft.com/office/officeart/2018/2/layout/IconVerticalSolidList"/>
    <dgm:cxn modelId="{F36EE10D-7B4B-4B99-9018-588511CA5B8E}" type="presParOf" srcId="{5DA8761A-268C-436D-93AA-3C21D6D84041}" destId="{A44BBA08-8DEC-4D6D-B805-A47E6E867FFF}" srcOrd="0" destOrd="0" presId="urn:microsoft.com/office/officeart/2018/2/layout/IconVerticalSolidList"/>
    <dgm:cxn modelId="{A89A057E-700E-493B-AF20-D42413A2C8F7}" type="presParOf" srcId="{5DA8761A-268C-436D-93AA-3C21D6D84041}" destId="{3C3F7450-142E-4DF0-9E18-322B707C50C8}" srcOrd="1" destOrd="0" presId="urn:microsoft.com/office/officeart/2018/2/layout/IconVerticalSolidList"/>
    <dgm:cxn modelId="{374CB7A3-6147-4BAC-AF66-5DB135EFE781}" type="presParOf" srcId="{5DA8761A-268C-436D-93AA-3C21D6D84041}" destId="{4E093536-5F25-449D-B679-F82C8220990F}" srcOrd="2" destOrd="0" presId="urn:microsoft.com/office/officeart/2018/2/layout/IconVerticalSolidList"/>
    <dgm:cxn modelId="{D8BE8AFB-98FE-4F93-AA0A-71D2E37D8BE9}" type="presParOf" srcId="{5DA8761A-268C-436D-93AA-3C21D6D84041}" destId="{8E8C697C-A4A9-4BA0-8850-C900DD52C1C4}" srcOrd="3" destOrd="0" presId="urn:microsoft.com/office/officeart/2018/2/layout/IconVerticalSolidList"/>
    <dgm:cxn modelId="{6460F05C-A9D4-4C1A-8E4B-C153B1CF7ECF}" type="presParOf" srcId="{01C25ACE-EF3C-4589-81A7-437145DABC24}" destId="{A02489BB-FEE9-43B6-AAC6-17424D038DF1}" srcOrd="7" destOrd="0" presId="urn:microsoft.com/office/officeart/2018/2/layout/IconVerticalSolidList"/>
    <dgm:cxn modelId="{508496D3-A9D8-4ADA-A0E5-0D6677CE3E01}" type="presParOf" srcId="{01C25ACE-EF3C-4589-81A7-437145DABC24}" destId="{3BA21798-9C6C-4C50-A1CD-9C145D02E437}" srcOrd="8" destOrd="0" presId="urn:microsoft.com/office/officeart/2018/2/layout/IconVerticalSolidList"/>
    <dgm:cxn modelId="{ABF72BF0-67DF-4AA5-9FED-A2F2BA92DD6E}" type="presParOf" srcId="{3BA21798-9C6C-4C50-A1CD-9C145D02E437}" destId="{6EC0197D-E250-488A-92A8-0CC3BBE07638}" srcOrd="0" destOrd="0" presId="urn:microsoft.com/office/officeart/2018/2/layout/IconVerticalSolidList"/>
    <dgm:cxn modelId="{9E3C8B6D-FF12-4057-A60B-34D650A594AD}" type="presParOf" srcId="{3BA21798-9C6C-4C50-A1CD-9C145D02E437}" destId="{1FB780EB-9810-48F9-8712-AFAD80ECF7FD}" srcOrd="1" destOrd="0" presId="urn:microsoft.com/office/officeart/2018/2/layout/IconVerticalSolidList"/>
    <dgm:cxn modelId="{258995E4-89DE-4D5C-9392-6DC6D7644E34}" type="presParOf" srcId="{3BA21798-9C6C-4C50-A1CD-9C145D02E437}" destId="{391CCA09-BC1C-40EF-BD8C-D479E367449B}" srcOrd="2" destOrd="0" presId="urn:microsoft.com/office/officeart/2018/2/layout/IconVerticalSolidList"/>
    <dgm:cxn modelId="{FEA25A1D-DFA5-4323-9FF8-563E15D8A9ED}" type="presParOf" srcId="{3BA21798-9C6C-4C50-A1CD-9C145D02E437}" destId="{45CA9C20-5C16-403B-806B-78E45DF77B58}" srcOrd="3" destOrd="0" presId="urn:microsoft.com/office/officeart/2018/2/layout/IconVerticalSolidList"/>
    <dgm:cxn modelId="{C31C9A45-3D81-448C-9895-0409E9F98199}" type="presParOf" srcId="{01C25ACE-EF3C-4589-81A7-437145DABC24}" destId="{9763D166-BBC8-4871-836E-9F537DBA1724}" srcOrd="9" destOrd="0" presId="urn:microsoft.com/office/officeart/2018/2/layout/IconVerticalSolidList"/>
    <dgm:cxn modelId="{23B7C8DA-951A-49D0-8035-0ABE489FD754}" type="presParOf" srcId="{01C25ACE-EF3C-4589-81A7-437145DABC24}" destId="{FE33FA0F-7018-4CD4-A51E-2825BEDEE6EC}" srcOrd="10" destOrd="0" presId="urn:microsoft.com/office/officeart/2018/2/layout/IconVerticalSolidList"/>
    <dgm:cxn modelId="{8A0237F8-4DC4-45AA-879F-16136C2AED75}" type="presParOf" srcId="{FE33FA0F-7018-4CD4-A51E-2825BEDEE6EC}" destId="{189C0E66-9311-47E5-8B2A-2556219332B4}" srcOrd="0" destOrd="0" presId="urn:microsoft.com/office/officeart/2018/2/layout/IconVerticalSolidList"/>
    <dgm:cxn modelId="{0B1D0214-4C3E-4C1E-BBA0-47B958C81C34}" type="presParOf" srcId="{FE33FA0F-7018-4CD4-A51E-2825BEDEE6EC}" destId="{305D0146-840D-41FF-A296-AF71FBB1E31A}" srcOrd="1" destOrd="0" presId="urn:microsoft.com/office/officeart/2018/2/layout/IconVerticalSolidList"/>
    <dgm:cxn modelId="{F27AB765-5E32-4C95-A804-288FFAE4611D}" type="presParOf" srcId="{FE33FA0F-7018-4CD4-A51E-2825BEDEE6EC}" destId="{84535969-E0E0-4200-AFB2-D87E8A231876}" srcOrd="2" destOrd="0" presId="urn:microsoft.com/office/officeart/2018/2/layout/IconVerticalSolidList"/>
    <dgm:cxn modelId="{425D1C6A-3BA4-417A-9D5E-7CA2F54D6586}" type="presParOf" srcId="{FE33FA0F-7018-4CD4-A51E-2825BEDEE6EC}" destId="{A19D4439-F4B6-4A76-B9A6-7898276B89BA}"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28ACB14-A516-4B17-89B3-69C646B7D4A9}" type="doc">
      <dgm:prSet loTypeId="urn:microsoft.com/office/officeart/2005/8/layout/matrix3" loCatId="matrix" qsTypeId="urn:microsoft.com/office/officeart/2005/8/quickstyle/simple1" qsCatId="simple" csTypeId="urn:microsoft.com/office/officeart/2005/8/colors/colorful1" csCatId="colorful" phldr="1"/>
      <dgm:spPr/>
      <dgm:t>
        <a:bodyPr/>
        <a:lstStyle/>
        <a:p>
          <a:endParaRPr lang="en-US"/>
        </a:p>
      </dgm:t>
    </dgm:pt>
    <dgm:pt modelId="{226E31A5-17D7-4BDD-9A6E-57FF3FB98150}">
      <dgm:prSet phldrT="[Text]" custT="1"/>
      <dgm:spPr/>
      <dgm:t>
        <a:bodyPr/>
        <a:lstStyle/>
        <a:p>
          <a:r>
            <a:rPr lang="en-US" sz="2400" b="1"/>
            <a:t>Alternative</a:t>
          </a:r>
          <a:r>
            <a:rPr lang="en-US" sz="2400"/>
            <a:t> to branching</a:t>
          </a:r>
        </a:p>
      </dgm:t>
    </dgm:pt>
    <dgm:pt modelId="{22262856-5ED2-4A16-BAF2-F296DC74ABF3}" type="parTrans" cxnId="{7816B98C-46E7-4659-B32D-596EA5FF0C16}">
      <dgm:prSet/>
      <dgm:spPr/>
      <dgm:t>
        <a:bodyPr/>
        <a:lstStyle/>
        <a:p>
          <a:endParaRPr lang="en-US" sz="2400"/>
        </a:p>
      </dgm:t>
    </dgm:pt>
    <dgm:pt modelId="{10B5C0A8-F906-4097-909B-237EFD608B9C}" type="sibTrans" cxnId="{7816B98C-46E7-4659-B32D-596EA5FF0C16}">
      <dgm:prSet/>
      <dgm:spPr/>
      <dgm:t>
        <a:bodyPr/>
        <a:lstStyle/>
        <a:p>
          <a:endParaRPr lang="en-US" sz="2400"/>
        </a:p>
      </dgm:t>
    </dgm:pt>
    <dgm:pt modelId="{F602BF43-D9F3-4C17-98EF-17325AAFCA4C}">
      <dgm:prSet phldrT="[Text]" phldr="0" custT="1"/>
      <dgm:spPr/>
      <dgm:t>
        <a:bodyPr/>
        <a:lstStyle/>
        <a:p>
          <a:r>
            <a:rPr lang="en-US" sz="2400"/>
            <a:t>Allows for quick </a:t>
          </a:r>
          <a:r>
            <a:rPr lang="en-US" sz="2400" b="1"/>
            <a:t>rollback</a:t>
          </a:r>
        </a:p>
      </dgm:t>
    </dgm:pt>
    <dgm:pt modelId="{EF482002-94A7-4D3E-A4F6-62FC48A6D24F}" type="parTrans" cxnId="{ACB89D2A-A35B-4503-BAC0-ADE18833D8CF}">
      <dgm:prSet/>
      <dgm:spPr/>
      <dgm:t>
        <a:bodyPr/>
        <a:lstStyle/>
        <a:p>
          <a:endParaRPr lang="en-US" sz="2400"/>
        </a:p>
      </dgm:t>
    </dgm:pt>
    <dgm:pt modelId="{897B56BB-D331-48F0-B173-CDD2597E0516}" type="sibTrans" cxnId="{ACB89D2A-A35B-4503-BAC0-ADE18833D8CF}">
      <dgm:prSet/>
      <dgm:spPr/>
      <dgm:t>
        <a:bodyPr/>
        <a:lstStyle/>
        <a:p>
          <a:endParaRPr lang="en-US" sz="2400"/>
        </a:p>
      </dgm:t>
    </dgm:pt>
    <dgm:pt modelId="{4F4084B8-5853-490C-B436-A68D067C3F3B}">
      <dgm:prSet phldrT="[Text]" custT="1"/>
      <dgm:spPr>
        <a:solidFill>
          <a:schemeClr val="accent3">
            <a:lumMod val="75000"/>
          </a:schemeClr>
        </a:solidFill>
      </dgm:spPr>
      <dgm:t>
        <a:bodyPr/>
        <a:lstStyle/>
        <a:p>
          <a:r>
            <a:rPr lang="en-US" sz="2400"/>
            <a:t>ON/OFF switch for a </a:t>
          </a:r>
          <a:r>
            <a:rPr lang="en-US" sz="2400" b="1"/>
            <a:t>specific</a:t>
          </a:r>
          <a:r>
            <a:rPr lang="en-US" sz="2400"/>
            <a:t> feature</a:t>
          </a:r>
        </a:p>
      </dgm:t>
    </dgm:pt>
    <dgm:pt modelId="{2D4A6BD5-A5E6-4770-AF07-D59AECB92639}" type="parTrans" cxnId="{785F562C-3D92-428B-BD4F-1DBDCCD1A714}">
      <dgm:prSet/>
      <dgm:spPr/>
      <dgm:t>
        <a:bodyPr/>
        <a:lstStyle/>
        <a:p>
          <a:endParaRPr lang="en-US" sz="2400"/>
        </a:p>
      </dgm:t>
    </dgm:pt>
    <dgm:pt modelId="{1E4272BA-C9A0-4525-9B67-FAD762CDF288}" type="sibTrans" cxnId="{785F562C-3D92-428B-BD4F-1DBDCCD1A714}">
      <dgm:prSet/>
      <dgm:spPr/>
      <dgm:t>
        <a:bodyPr/>
        <a:lstStyle/>
        <a:p>
          <a:endParaRPr lang="en-US" sz="2400"/>
        </a:p>
      </dgm:t>
    </dgm:pt>
    <dgm:pt modelId="{EA02EC63-6B6E-4416-92EF-EDB20CF763E6}">
      <dgm:prSet phldrT="[Text]" phldr="0" custT="1"/>
      <dgm:spPr>
        <a:solidFill>
          <a:srgbClr val="5C005C"/>
        </a:solidFill>
      </dgm:spPr>
      <dgm:t>
        <a:bodyPr/>
        <a:lstStyle/>
        <a:p>
          <a:r>
            <a:rPr lang="en-US" sz="2400" b="0"/>
            <a:t>Feature</a:t>
          </a:r>
          <a:r>
            <a:rPr lang="en-US" sz="2400" b="1"/>
            <a:t> hidden </a:t>
          </a:r>
          <a:r>
            <a:rPr lang="en-US" sz="2400" b="0"/>
            <a:t>from users</a:t>
          </a:r>
        </a:p>
      </dgm:t>
    </dgm:pt>
    <dgm:pt modelId="{729C1A68-06C1-4341-B48B-A1C25245A8C2}" type="parTrans" cxnId="{37562983-F671-41A0-81F3-EED7907FE52D}">
      <dgm:prSet/>
      <dgm:spPr/>
      <dgm:t>
        <a:bodyPr/>
        <a:lstStyle/>
        <a:p>
          <a:endParaRPr lang="en-US"/>
        </a:p>
      </dgm:t>
    </dgm:pt>
    <dgm:pt modelId="{5E35F91C-2E2E-40E0-82AE-C6BF4A1BBEEF}" type="sibTrans" cxnId="{37562983-F671-41A0-81F3-EED7907FE52D}">
      <dgm:prSet/>
      <dgm:spPr/>
      <dgm:t>
        <a:bodyPr/>
        <a:lstStyle/>
        <a:p>
          <a:endParaRPr lang="en-US"/>
        </a:p>
      </dgm:t>
    </dgm:pt>
    <dgm:pt modelId="{6A5D683F-D9F0-49F8-B2A3-F7D00A4B932C}" type="pres">
      <dgm:prSet presAssocID="{B28ACB14-A516-4B17-89B3-69C646B7D4A9}" presName="matrix" presStyleCnt="0">
        <dgm:presLayoutVars>
          <dgm:chMax val="1"/>
          <dgm:dir/>
          <dgm:resizeHandles val="exact"/>
        </dgm:presLayoutVars>
      </dgm:prSet>
      <dgm:spPr/>
    </dgm:pt>
    <dgm:pt modelId="{C1AE6574-440E-4D9B-A079-F2AC5CB72A53}" type="pres">
      <dgm:prSet presAssocID="{B28ACB14-A516-4B17-89B3-69C646B7D4A9}" presName="diamond" presStyleLbl="bgShp" presStyleIdx="0" presStyleCnt="1"/>
      <dgm:spPr/>
    </dgm:pt>
    <dgm:pt modelId="{FC348BA7-06B1-4FBE-86D5-24D23FE7E207}" type="pres">
      <dgm:prSet presAssocID="{B28ACB14-A516-4B17-89B3-69C646B7D4A9}" presName="quad1" presStyleLbl="node1" presStyleIdx="0" presStyleCnt="4">
        <dgm:presLayoutVars>
          <dgm:chMax val="0"/>
          <dgm:chPref val="0"/>
          <dgm:bulletEnabled val="1"/>
        </dgm:presLayoutVars>
      </dgm:prSet>
      <dgm:spPr/>
    </dgm:pt>
    <dgm:pt modelId="{3F8CD9CE-6567-4C69-97CA-0A00DAD3A458}" type="pres">
      <dgm:prSet presAssocID="{B28ACB14-A516-4B17-89B3-69C646B7D4A9}" presName="quad2" presStyleLbl="node1" presStyleIdx="1" presStyleCnt="4">
        <dgm:presLayoutVars>
          <dgm:chMax val="0"/>
          <dgm:chPref val="0"/>
          <dgm:bulletEnabled val="1"/>
        </dgm:presLayoutVars>
      </dgm:prSet>
      <dgm:spPr/>
    </dgm:pt>
    <dgm:pt modelId="{B1FE2F84-2663-405A-BEC7-9987B2F8EB6F}" type="pres">
      <dgm:prSet presAssocID="{B28ACB14-A516-4B17-89B3-69C646B7D4A9}" presName="quad3" presStyleLbl="node1" presStyleIdx="2" presStyleCnt="4">
        <dgm:presLayoutVars>
          <dgm:chMax val="0"/>
          <dgm:chPref val="0"/>
          <dgm:bulletEnabled val="1"/>
        </dgm:presLayoutVars>
      </dgm:prSet>
      <dgm:spPr/>
    </dgm:pt>
    <dgm:pt modelId="{46C14B10-056E-4B58-9A34-FA4943F20D5C}" type="pres">
      <dgm:prSet presAssocID="{B28ACB14-A516-4B17-89B3-69C646B7D4A9}" presName="quad4" presStyleLbl="node1" presStyleIdx="3" presStyleCnt="4">
        <dgm:presLayoutVars>
          <dgm:chMax val="0"/>
          <dgm:chPref val="0"/>
          <dgm:bulletEnabled val="1"/>
        </dgm:presLayoutVars>
      </dgm:prSet>
      <dgm:spPr/>
    </dgm:pt>
  </dgm:ptLst>
  <dgm:cxnLst>
    <dgm:cxn modelId="{ACB89D2A-A35B-4503-BAC0-ADE18833D8CF}" srcId="{B28ACB14-A516-4B17-89B3-69C646B7D4A9}" destId="{F602BF43-D9F3-4C17-98EF-17325AAFCA4C}" srcOrd="2" destOrd="0" parTransId="{EF482002-94A7-4D3E-A4F6-62FC48A6D24F}" sibTransId="{897B56BB-D331-48F0-B173-CDD2597E0516}"/>
    <dgm:cxn modelId="{785F562C-3D92-428B-BD4F-1DBDCCD1A714}" srcId="{B28ACB14-A516-4B17-89B3-69C646B7D4A9}" destId="{4F4084B8-5853-490C-B436-A68D067C3F3B}" srcOrd="1" destOrd="0" parTransId="{2D4A6BD5-A5E6-4770-AF07-D59AECB92639}" sibTransId="{1E4272BA-C9A0-4525-9B67-FAD762CDF288}"/>
    <dgm:cxn modelId="{37562983-F671-41A0-81F3-EED7907FE52D}" srcId="{B28ACB14-A516-4B17-89B3-69C646B7D4A9}" destId="{EA02EC63-6B6E-4416-92EF-EDB20CF763E6}" srcOrd="3" destOrd="0" parTransId="{729C1A68-06C1-4341-B48B-A1C25245A8C2}" sibTransId="{5E35F91C-2E2E-40E0-82AE-C6BF4A1BBEEF}"/>
    <dgm:cxn modelId="{7816B98C-46E7-4659-B32D-596EA5FF0C16}" srcId="{B28ACB14-A516-4B17-89B3-69C646B7D4A9}" destId="{226E31A5-17D7-4BDD-9A6E-57FF3FB98150}" srcOrd="0" destOrd="0" parTransId="{22262856-5ED2-4A16-BAF2-F296DC74ABF3}" sibTransId="{10B5C0A8-F906-4097-909B-237EFD608B9C}"/>
    <dgm:cxn modelId="{7DDEBAB7-9DF3-4834-9278-4BD112BC0B6E}" type="presOf" srcId="{F602BF43-D9F3-4C17-98EF-17325AAFCA4C}" destId="{B1FE2F84-2663-405A-BEC7-9987B2F8EB6F}" srcOrd="0" destOrd="0" presId="urn:microsoft.com/office/officeart/2005/8/layout/matrix3"/>
    <dgm:cxn modelId="{8C455CD4-10EC-4DD6-B1D7-D3C4F13090A9}" type="presOf" srcId="{226E31A5-17D7-4BDD-9A6E-57FF3FB98150}" destId="{FC348BA7-06B1-4FBE-86D5-24D23FE7E207}" srcOrd="0" destOrd="0" presId="urn:microsoft.com/office/officeart/2005/8/layout/matrix3"/>
    <dgm:cxn modelId="{491AA0D5-2D2C-4546-BE07-FB17AB5D3F92}" type="presOf" srcId="{4F4084B8-5853-490C-B436-A68D067C3F3B}" destId="{3F8CD9CE-6567-4C69-97CA-0A00DAD3A458}" srcOrd="0" destOrd="0" presId="urn:microsoft.com/office/officeart/2005/8/layout/matrix3"/>
    <dgm:cxn modelId="{E4867CE7-B6BC-4AB2-A45B-064F11FBFA7B}" type="presOf" srcId="{EA02EC63-6B6E-4416-92EF-EDB20CF763E6}" destId="{46C14B10-056E-4B58-9A34-FA4943F20D5C}" srcOrd="0" destOrd="0" presId="urn:microsoft.com/office/officeart/2005/8/layout/matrix3"/>
    <dgm:cxn modelId="{8C5CD1F7-5585-4F9C-9B57-33D38C5331F4}" type="presOf" srcId="{B28ACB14-A516-4B17-89B3-69C646B7D4A9}" destId="{6A5D683F-D9F0-49F8-B2A3-F7D00A4B932C}" srcOrd="0" destOrd="0" presId="urn:microsoft.com/office/officeart/2005/8/layout/matrix3"/>
    <dgm:cxn modelId="{1E36703F-4DDD-4A83-9354-0F32E39CCAC4}" type="presParOf" srcId="{6A5D683F-D9F0-49F8-B2A3-F7D00A4B932C}" destId="{C1AE6574-440E-4D9B-A079-F2AC5CB72A53}" srcOrd="0" destOrd="0" presId="urn:microsoft.com/office/officeart/2005/8/layout/matrix3"/>
    <dgm:cxn modelId="{3F0D5099-A2C0-4FB5-B0B1-A2669241C247}" type="presParOf" srcId="{6A5D683F-D9F0-49F8-B2A3-F7D00A4B932C}" destId="{FC348BA7-06B1-4FBE-86D5-24D23FE7E207}" srcOrd="1" destOrd="0" presId="urn:microsoft.com/office/officeart/2005/8/layout/matrix3"/>
    <dgm:cxn modelId="{F166562D-8131-4A70-9ABD-9023E1AF7C01}" type="presParOf" srcId="{6A5D683F-D9F0-49F8-B2A3-F7D00A4B932C}" destId="{3F8CD9CE-6567-4C69-97CA-0A00DAD3A458}" srcOrd="2" destOrd="0" presId="urn:microsoft.com/office/officeart/2005/8/layout/matrix3"/>
    <dgm:cxn modelId="{359737FC-B27F-4D11-88C0-B9144564CD1E}" type="presParOf" srcId="{6A5D683F-D9F0-49F8-B2A3-F7D00A4B932C}" destId="{B1FE2F84-2663-405A-BEC7-9987B2F8EB6F}" srcOrd="3" destOrd="0" presId="urn:microsoft.com/office/officeart/2005/8/layout/matrix3"/>
    <dgm:cxn modelId="{7AFEE1F7-87B4-4D9E-8896-3F9511A68DAE}" type="presParOf" srcId="{6A5D683F-D9F0-49F8-B2A3-F7D00A4B932C}" destId="{46C14B10-056E-4B58-9A34-FA4943F20D5C}"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B7EADF5-F7B5-4214-B745-D5D0BB5B8C0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21F3CA27-7B1F-46EF-B4F3-FDFB0FC44A27}">
      <dgm:prSet custT="1"/>
      <dgm:spPr/>
      <dgm:t>
        <a:bodyPr/>
        <a:lstStyle/>
        <a:p>
          <a:r>
            <a:rPr lang="en-US" sz="2000" baseline="0"/>
            <a:t>Revert</a:t>
          </a:r>
          <a:endParaRPr lang="en-US" sz="2000"/>
        </a:p>
      </dgm:t>
    </dgm:pt>
    <dgm:pt modelId="{C339B55E-C889-48A4-90BF-0557E745E144}" type="parTrans" cxnId="{2BED6F67-D68B-4FD2-B52F-680F987B51CB}">
      <dgm:prSet/>
      <dgm:spPr/>
      <dgm:t>
        <a:bodyPr/>
        <a:lstStyle/>
        <a:p>
          <a:endParaRPr lang="en-US" sz="2000"/>
        </a:p>
      </dgm:t>
    </dgm:pt>
    <dgm:pt modelId="{B67121A7-34DC-4CE8-ADE7-AF44030C0C2A}" type="sibTrans" cxnId="{2BED6F67-D68B-4FD2-B52F-680F987B51CB}">
      <dgm:prSet/>
      <dgm:spPr/>
      <dgm:t>
        <a:bodyPr/>
        <a:lstStyle/>
        <a:p>
          <a:endParaRPr lang="en-US" sz="2000"/>
        </a:p>
      </dgm:t>
    </dgm:pt>
    <dgm:pt modelId="{4DB12C2E-0D05-46A7-B8A1-A055655C7456}">
      <dgm:prSet custT="1"/>
      <dgm:spPr/>
      <dgm:t>
        <a:bodyPr/>
        <a:lstStyle/>
        <a:p>
          <a:r>
            <a:rPr lang="en-US" sz="2000" baseline="0"/>
            <a:t>“Roll back” to an earlier commit, but </a:t>
          </a:r>
          <a:r>
            <a:rPr lang="en-US" sz="2000" b="1" baseline="0"/>
            <a:t>maintains history</a:t>
          </a:r>
          <a:endParaRPr lang="en-US" sz="2000" b="1"/>
        </a:p>
      </dgm:t>
    </dgm:pt>
    <dgm:pt modelId="{FA739991-6EB5-41BF-A26F-07E1BA3675D1}" type="parTrans" cxnId="{073F31BF-00E7-4AE7-AD45-BE90707C22E5}">
      <dgm:prSet/>
      <dgm:spPr/>
      <dgm:t>
        <a:bodyPr/>
        <a:lstStyle/>
        <a:p>
          <a:endParaRPr lang="en-US" sz="2000"/>
        </a:p>
      </dgm:t>
    </dgm:pt>
    <dgm:pt modelId="{E0FDCE85-9650-44C1-8858-0337FD1FC5E7}" type="sibTrans" cxnId="{073F31BF-00E7-4AE7-AD45-BE90707C22E5}">
      <dgm:prSet/>
      <dgm:spPr/>
      <dgm:t>
        <a:bodyPr/>
        <a:lstStyle/>
        <a:p>
          <a:endParaRPr lang="en-US" sz="2000"/>
        </a:p>
      </dgm:t>
    </dgm:pt>
    <dgm:pt modelId="{881504A0-101B-4C9B-B864-A3FCD17CC743}">
      <dgm:prSet custT="1"/>
      <dgm:spPr/>
      <dgm:t>
        <a:bodyPr/>
        <a:lstStyle/>
        <a:p>
          <a:r>
            <a:rPr lang="en-US" sz="2000" baseline="0"/>
            <a:t>Creates a new commit, which </a:t>
          </a:r>
          <a:r>
            <a:rPr lang="en-US" sz="2000" b="1" baseline="0"/>
            <a:t>copies</a:t>
          </a:r>
          <a:r>
            <a:rPr lang="en-US" sz="2000" baseline="0"/>
            <a:t> the earlier one</a:t>
          </a:r>
          <a:endParaRPr lang="en-US" sz="2000"/>
        </a:p>
      </dgm:t>
    </dgm:pt>
    <dgm:pt modelId="{94C46722-C6C2-4ADA-B3A6-D5B36480BDEE}" type="parTrans" cxnId="{F68BE397-B334-496E-9E0F-57D2C68054ED}">
      <dgm:prSet/>
      <dgm:spPr/>
      <dgm:t>
        <a:bodyPr/>
        <a:lstStyle/>
        <a:p>
          <a:endParaRPr lang="en-US" sz="2000"/>
        </a:p>
      </dgm:t>
    </dgm:pt>
    <dgm:pt modelId="{26078434-6A7D-43F3-B0AF-4BF35CC57D54}" type="sibTrans" cxnId="{F68BE397-B334-496E-9E0F-57D2C68054ED}">
      <dgm:prSet/>
      <dgm:spPr/>
      <dgm:t>
        <a:bodyPr/>
        <a:lstStyle/>
        <a:p>
          <a:endParaRPr lang="en-US" sz="2000"/>
        </a:p>
      </dgm:t>
    </dgm:pt>
    <dgm:pt modelId="{1DDB92A9-D743-4A24-8E98-DF31CDDD9177}">
      <dgm:prSet custT="1"/>
      <dgm:spPr/>
      <dgm:t>
        <a:bodyPr/>
        <a:lstStyle/>
        <a:p>
          <a:r>
            <a:rPr lang="en-US" sz="2000" baseline="0"/>
            <a:t>Reset</a:t>
          </a:r>
          <a:endParaRPr lang="en-US" sz="2000"/>
        </a:p>
      </dgm:t>
    </dgm:pt>
    <dgm:pt modelId="{8A73E01A-3F66-401C-BCBF-7147D8100B89}" type="parTrans" cxnId="{F88D58F4-147B-4906-9E2F-2F35492DBB12}">
      <dgm:prSet/>
      <dgm:spPr/>
      <dgm:t>
        <a:bodyPr/>
        <a:lstStyle/>
        <a:p>
          <a:endParaRPr lang="en-US" sz="2000"/>
        </a:p>
      </dgm:t>
    </dgm:pt>
    <dgm:pt modelId="{F3953B7D-D493-47F0-8789-CD476C5AE14F}" type="sibTrans" cxnId="{F88D58F4-147B-4906-9E2F-2F35492DBB12}">
      <dgm:prSet/>
      <dgm:spPr/>
      <dgm:t>
        <a:bodyPr/>
        <a:lstStyle/>
        <a:p>
          <a:endParaRPr lang="en-US" sz="2000"/>
        </a:p>
      </dgm:t>
    </dgm:pt>
    <dgm:pt modelId="{DFE32911-FA3D-417B-998C-AEC8BC95796C}">
      <dgm:prSet custT="1"/>
      <dgm:spPr/>
      <dgm:t>
        <a:bodyPr/>
        <a:lstStyle/>
        <a:p>
          <a:r>
            <a:rPr lang="en-US" sz="2000" baseline="0"/>
            <a:t>“Roll back” to an earlier commit, but </a:t>
          </a:r>
          <a:r>
            <a:rPr lang="en-US" sz="2000" b="1" baseline="0"/>
            <a:t>deletes history</a:t>
          </a:r>
          <a:endParaRPr lang="en-US" sz="2000" b="1"/>
        </a:p>
      </dgm:t>
    </dgm:pt>
    <dgm:pt modelId="{EF3CDED7-49F1-4B9E-8E55-67B1029C4580}" type="parTrans" cxnId="{B43C8978-BA60-488D-8783-58CB3D6C5B81}">
      <dgm:prSet/>
      <dgm:spPr/>
      <dgm:t>
        <a:bodyPr/>
        <a:lstStyle/>
        <a:p>
          <a:endParaRPr lang="en-US" sz="2000"/>
        </a:p>
      </dgm:t>
    </dgm:pt>
    <dgm:pt modelId="{363DDFA0-784D-447C-AE6E-377C6062DE04}" type="sibTrans" cxnId="{B43C8978-BA60-488D-8783-58CB3D6C5B81}">
      <dgm:prSet/>
      <dgm:spPr/>
      <dgm:t>
        <a:bodyPr/>
        <a:lstStyle/>
        <a:p>
          <a:endParaRPr lang="en-US" sz="2000"/>
        </a:p>
      </dgm:t>
    </dgm:pt>
    <dgm:pt modelId="{2AE2592A-B5D1-4F2E-982E-386BA64E7FE4}">
      <dgm:prSet custT="1"/>
      <dgm:spPr/>
      <dgm:t>
        <a:bodyPr/>
        <a:lstStyle/>
        <a:p>
          <a:r>
            <a:rPr lang="en-US" sz="2000" baseline="0"/>
            <a:t>Use for undoing </a:t>
          </a:r>
          <a:r>
            <a:rPr lang="en-US" sz="2000" b="1" baseline="0"/>
            <a:t>local</a:t>
          </a:r>
          <a:r>
            <a:rPr lang="en-US" sz="2000" baseline="0"/>
            <a:t> changes, don’t use it on the public repo</a:t>
          </a:r>
          <a:endParaRPr lang="en-US" sz="2000"/>
        </a:p>
      </dgm:t>
    </dgm:pt>
    <dgm:pt modelId="{A58EA52D-4A9B-4329-8662-BE15523F8915}" type="parTrans" cxnId="{BC6D4166-33C0-416C-8E2A-38B6A6F776F2}">
      <dgm:prSet/>
      <dgm:spPr/>
      <dgm:t>
        <a:bodyPr/>
        <a:lstStyle/>
        <a:p>
          <a:endParaRPr lang="en-US" sz="2000"/>
        </a:p>
      </dgm:t>
    </dgm:pt>
    <dgm:pt modelId="{C9FC2241-692F-4BD2-B11A-A7C9142659D8}" type="sibTrans" cxnId="{BC6D4166-33C0-416C-8E2A-38B6A6F776F2}">
      <dgm:prSet/>
      <dgm:spPr/>
      <dgm:t>
        <a:bodyPr/>
        <a:lstStyle/>
        <a:p>
          <a:endParaRPr lang="en-US" sz="2000"/>
        </a:p>
      </dgm:t>
    </dgm:pt>
    <dgm:pt modelId="{D2F48AC3-70B9-4E55-9A6D-FA0A91AE9D37}">
      <dgm:prSet custT="1"/>
      <dgm:spPr/>
      <dgm:t>
        <a:bodyPr/>
        <a:lstStyle/>
        <a:p>
          <a:r>
            <a:rPr lang="en-US" sz="2000" b="1" baseline="0"/>
            <a:t>Hard</a:t>
          </a:r>
          <a:r>
            <a:rPr lang="en-US" sz="2000" baseline="0"/>
            <a:t> removes all data from working directory and staging</a:t>
          </a:r>
          <a:endParaRPr lang="en-US" sz="2000"/>
        </a:p>
      </dgm:t>
    </dgm:pt>
    <dgm:pt modelId="{112465FC-8C64-4A5B-A5E0-7F85B256EC20}" type="parTrans" cxnId="{48DB7F1A-7A43-4F16-B04F-6F346B0CD68E}">
      <dgm:prSet/>
      <dgm:spPr/>
      <dgm:t>
        <a:bodyPr/>
        <a:lstStyle/>
        <a:p>
          <a:endParaRPr lang="en-US" sz="2000"/>
        </a:p>
      </dgm:t>
    </dgm:pt>
    <dgm:pt modelId="{5FBC4313-121F-499D-964E-687A59CD25C9}" type="sibTrans" cxnId="{48DB7F1A-7A43-4F16-B04F-6F346B0CD68E}">
      <dgm:prSet/>
      <dgm:spPr/>
      <dgm:t>
        <a:bodyPr/>
        <a:lstStyle/>
        <a:p>
          <a:endParaRPr lang="en-US" sz="2000"/>
        </a:p>
      </dgm:t>
    </dgm:pt>
    <dgm:pt modelId="{63A73FB5-9A66-40DC-90C0-8D6C02028528}">
      <dgm:prSet custT="1"/>
      <dgm:spPr/>
      <dgm:t>
        <a:bodyPr/>
        <a:lstStyle/>
        <a:p>
          <a:r>
            <a:rPr lang="en-US" sz="2000" b="1" baseline="0"/>
            <a:t>Mixed</a:t>
          </a:r>
          <a:r>
            <a:rPr lang="en-US" sz="2000" baseline="0"/>
            <a:t> moved all staged files to working directory</a:t>
          </a:r>
          <a:endParaRPr lang="en-US" sz="2000"/>
        </a:p>
      </dgm:t>
    </dgm:pt>
    <dgm:pt modelId="{046705D4-17E3-43F3-8087-F3E74C1E7A51}" type="parTrans" cxnId="{85429B93-D193-4CB1-81A8-99DEC4E1C386}">
      <dgm:prSet/>
      <dgm:spPr/>
      <dgm:t>
        <a:bodyPr/>
        <a:lstStyle/>
        <a:p>
          <a:endParaRPr lang="en-US" sz="2000"/>
        </a:p>
      </dgm:t>
    </dgm:pt>
    <dgm:pt modelId="{E9962190-234C-4DFD-9B69-F8273D083575}" type="sibTrans" cxnId="{85429B93-D193-4CB1-81A8-99DEC4E1C386}">
      <dgm:prSet/>
      <dgm:spPr/>
      <dgm:t>
        <a:bodyPr/>
        <a:lstStyle/>
        <a:p>
          <a:endParaRPr lang="en-US" sz="2000"/>
        </a:p>
      </dgm:t>
    </dgm:pt>
    <dgm:pt modelId="{F3BB1C41-A5AF-40EC-A6DF-C8506C06AAC7}">
      <dgm:prSet custT="1"/>
      <dgm:spPr/>
      <dgm:t>
        <a:bodyPr/>
        <a:lstStyle/>
        <a:p>
          <a:r>
            <a:rPr lang="en-US" sz="2000" baseline="0"/>
            <a:t>Won’t delete commits right away, but will </a:t>
          </a:r>
          <a:r>
            <a:rPr lang="en-US" sz="2000" b="1" baseline="0"/>
            <a:t>orphan</a:t>
          </a:r>
          <a:r>
            <a:rPr lang="en-US" sz="2000" baseline="0"/>
            <a:t> them temporarily</a:t>
          </a:r>
          <a:endParaRPr lang="en-US" sz="2000"/>
        </a:p>
      </dgm:t>
    </dgm:pt>
    <dgm:pt modelId="{5B5D782A-7D32-4CCA-A486-F8531FC9FCAC}" type="parTrans" cxnId="{19E4EBE2-441B-4612-8739-08B97256CEC1}">
      <dgm:prSet/>
      <dgm:spPr/>
      <dgm:t>
        <a:bodyPr/>
        <a:lstStyle/>
        <a:p>
          <a:endParaRPr lang="en-US" sz="2000"/>
        </a:p>
      </dgm:t>
    </dgm:pt>
    <dgm:pt modelId="{385D30A6-2CEF-419A-9F14-76EF1E3A8E0D}" type="sibTrans" cxnId="{19E4EBE2-441B-4612-8739-08B97256CEC1}">
      <dgm:prSet/>
      <dgm:spPr/>
      <dgm:t>
        <a:bodyPr/>
        <a:lstStyle/>
        <a:p>
          <a:endParaRPr lang="en-US" sz="2000"/>
        </a:p>
      </dgm:t>
    </dgm:pt>
    <dgm:pt modelId="{F04A2CDE-B32E-4E15-ABAF-C94244760C66}">
      <dgm:prSet custT="1"/>
      <dgm:spPr/>
      <dgm:t>
        <a:bodyPr/>
        <a:lstStyle/>
        <a:p>
          <a:r>
            <a:rPr lang="en-US" sz="2000" baseline="0"/>
            <a:t>Rebase</a:t>
          </a:r>
          <a:endParaRPr lang="en-US" sz="2000"/>
        </a:p>
      </dgm:t>
    </dgm:pt>
    <dgm:pt modelId="{2686A643-E48F-4083-AC78-961F257D64CB}" type="parTrans" cxnId="{447A37E8-B3D5-4958-9889-463D41654053}">
      <dgm:prSet/>
      <dgm:spPr/>
      <dgm:t>
        <a:bodyPr/>
        <a:lstStyle/>
        <a:p>
          <a:endParaRPr lang="en-US" sz="2000"/>
        </a:p>
      </dgm:t>
    </dgm:pt>
    <dgm:pt modelId="{1419B09C-7642-4D08-932E-15C25DECD6B0}" type="sibTrans" cxnId="{447A37E8-B3D5-4958-9889-463D41654053}">
      <dgm:prSet/>
      <dgm:spPr/>
      <dgm:t>
        <a:bodyPr/>
        <a:lstStyle/>
        <a:p>
          <a:endParaRPr lang="en-US" sz="2000"/>
        </a:p>
      </dgm:t>
    </dgm:pt>
    <dgm:pt modelId="{760FDC89-6F9F-4356-9C1C-3AB03E1A84CE}">
      <dgm:prSet custT="1"/>
      <dgm:spPr/>
      <dgm:t>
        <a:bodyPr/>
        <a:lstStyle/>
        <a:p>
          <a:r>
            <a:rPr lang="en-US" sz="2000" baseline="0"/>
            <a:t>Like merge, but </a:t>
          </a:r>
          <a:r>
            <a:rPr lang="en-US" sz="2000" b="1" baseline="0"/>
            <a:t>rewrites history</a:t>
          </a:r>
          <a:endParaRPr lang="en-US" sz="2000" b="1"/>
        </a:p>
      </dgm:t>
    </dgm:pt>
    <dgm:pt modelId="{94E672AE-A962-4AE6-B776-BD780DC107A5}" type="parTrans" cxnId="{07CBAED8-AAEB-4ECD-85B7-3B430ACDA145}">
      <dgm:prSet/>
      <dgm:spPr/>
      <dgm:t>
        <a:bodyPr/>
        <a:lstStyle/>
        <a:p>
          <a:endParaRPr lang="en-US" sz="2000"/>
        </a:p>
      </dgm:t>
    </dgm:pt>
    <dgm:pt modelId="{E9E4ACBA-2D16-4793-8D1E-D59932664B24}" type="sibTrans" cxnId="{07CBAED8-AAEB-4ECD-85B7-3B430ACDA145}">
      <dgm:prSet/>
      <dgm:spPr/>
      <dgm:t>
        <a:bodyPr/>
        <a:lstStyle/>
        <a:p>
          <a:endParaRPr lang="en-US" sz="2000"/>
        </a:p>
      </dgm:t>
    </dgm:pt>
    <dgm:pt modelId="{8E23764F-E8A6-4662-8049-3E9F4B681B8E}">
      <dgm:prSet custT="1"/>
      <dgm:spPr/>
      <dgm:t>
        <a:bodyPr/>
        <a:lstStyle/>
        <a:p>
          <a:r>
            <a:rPr lang="en-US" sz="2000" baseline="0"/>
            <a:t>Simplifies history, but makes certain commits </a:t>
          </a:r>
          <a:r>
            <a:rPr lang="en-US" sz="2000" b="1" baseline="0"/>
            <a:t>unreachable</a:t>
          </a:r>
          <a:r>
            <a:rPr lang="en-US" sz="2000" baseline="0"/>
            <a:t> and conflicts harder to distinguish</a:t>
          </a:r>
          <a:endParaRPr lang="en-US" sz="2000"/>
        </a:p>
      </dgm:t>
    </dgm:pt>
    <dgm:pt modelId="{6A378AA0-3D98-4013-A81A-D0AB76303B4E}" type="parTrans" cxnId="{1D9CE2D0-4FEE-4225-9A57-033D47B4D2DE}">
      <dgm:prSet/>
      <dgm:spPr/>
      <dgm:t>
        <a:bodyPr/>
        <a:lstStyle/>
        <a:p>
          <a:endParaRPr lang="en-US" sz="2000"/>
        </a:p>
      </dgm:t>
    </dgm:pt>
    <dgm:pt modelId="{0C4948D8-5075-4B44-A8AD-4877819C2D24}" type="sibTrans" cxnId="{1D9CE2D0-4FEE-4225-9A57-033D47B4D2DE}">
      <dgm:prSet/>
      <dgm:spPr/>
      <dgm:t>
        <a:bodyPr/>
        <a:lstStyle/>
        <a:p>
          <a:endParaRPr lang="en-US" sz="2000"/>
        </a:p>
      </dgm:t>
    </dgm:pt>
    <dgm:pt modelId="{8BBCEA75-DC65-453C-912E-B989DEB9A104}">
      <dgm:prSet custT="1"/>
      <dgm:spPr/>
      <dgm:t>
        <a:bodyPr/>
        <a:lstStyle/>
        <a:p>
          <a:r>
            <a:rPr lang="en-US" sz="2000" baseline="0"/>
            <a:t>Do </a:t>
          </a:r>
          <a:r>
            <a:rPr lang="en-US" sz="2000" b="1" baseline="0"/>
            <a:t>not</a:t>
          </a:r>
          <a:r>
            <a:rPr lang="en-US" sz="2000" baseline="0"/>
            <a:t> use on public branches</a:t>
          </a:r>
          <a:endParaRPr lang="en-US" sz="2000"/>
        </a:p>
      </dgm:t>
    </dgm:pt>
    <dgm:pt modelId="{7A895ADB-A748-47E9-BB1A-D5A65382DDE5}" type="parTrans" cxnId="{6375E03F-9CDB-43F5-A854-4E8CE06742D2}">
      <dgm:prSet/>
      <dgm:spPr/>
      <dgm:t>
        <a:bodyPr/>
        <a:lstStyle/>
        <a:p>
          <a:endParaRPr lang="en-US" sz="2000"/>
        </a:p>
      </dgm:t>
    </dgm:pt>
    <dgm:pt modelId="{FC3D9F51-05BA-4AE7-8BC8-F11E982E7D1F}" type="sibTrans" cxnId="{6375E03F-9CDB-43F5-A854-4E8CE06742D2}">
      <dgm:prSet/>
      <dgm:spPr/>
      <dgm:t>
        <a:bodyPr/>
        <a:lstStyle/>
        <a:p>
          <a:endParaRPr lang="en-US" sz="2000"/>
        </a:p>
      </dgm:t>
    </dgm:pt>
    <dgm:pt modelId="{C87E9D04-527A-417E-9B3B-076F01722C0B}" type="pres">
      <dgm:prSet presAssocID="{2B7EADF5-F7B5-4214-B745-D5D0BB5B8C03}" presName="linear" presStyleCnt="0">
        <dgm:presLayoutVars>
          <dgm:dir/>
          <dgm:animLvl val="lvl"/>
          <dgm:resizeHandles val="exact"/>
        </dgm:presLayoutVars>
      </dgm:prSet>
      <dgm:spPr/>
    </dgm:pt>
    <dgm:pt modelId="{DE09A4CC-9DB1-4470-BF18-7C21F4BC8920}" type="pres">
      <dgm:prSet presAssocID="{21F3CA27-7B1F-46EF-B4F3-FDFB0FC44A27}" presName="parentLin" presStyleCnt="0"/>
      <dgm:spPr/>
    </dgm:pt>
    <dgm:pt modelId="{7D2190D3-3BE9-4A1B-A9EA-0FE0B7C5D4E5}" type="pres">
      <dgm:prSet presAssocID="{21F3CA27-7B1F-46EF-B4F3-FDFB0FC44A27}" presName="parentLeftMargin" presStyleLbl="node1" presStyleIdx="0" presStyleCnt="3"/>
      <dgm:spPr/>
    </dgm:pt>
    <dgm:pt modelId="{DB2B3805-21F2-4824-8161-817A5857F3C2}" type="pres">
      <dgm:prSet presAssocID="{21F3CA27-7B1F-46EF-B4F3-FDFB0FC44A27}" presName="parentText" presStyleLbl="node1" presStyleIdx="0" presStyleCnt="3">
        <dgm:presLayoutVars>
          <dgm:chMax val="0"/>
          <dgm:bulletEnabled val="1"/>
        </dgm:presLayoutVars>
      </dgm:prSet>
      <dgm:spPr/>
    </dgm:pt>
    <dgm:pt modelId="{032D3CD0-B658-4B1D-851B-AE87D05FAD12}" type="pres">
      <dgm:prSet presAssocID="{21F3CA27-7B1F-46EF-B4F3-FDFB0FC44A27}" presName="negativeSpace" presStyleCnt="0"/>
      <dgm:spPr/>
    </dgm:pt>
    <dgm:pt modelId="{9351F1E7-A79B-4D89-8B49-9449E89A8ECF}" type="pres">
      <dgm:prSet presAssocID="{21F3CA27-7B1F-46EF-B4F3-FDFB0FC44A27}" presName="childText" presStyleLbl="conFgAcc1" presStyleIdx="0" presStyleCnt="3">
        <dgm:presLayoutVars>
          <dgm:bulletEnabled val="1"/>
        </dgm:presLayoutVars>
      </dgm:prSet>
      <dgm:spPr/>
    </dgm:pt>
    <dgm:pt modelId="{50E273C9-002F-42E7-9021-B798733DA52C}" type="pres">
      <dgm:prSet presAssocID="{B67121A7-34DC-4CE8-ADE7-AF44030C0C2A}" presName="spaceBetweenRectangles" presStyleCnt="0"/>
      <dgm:spPr/>
    </dgm:pt>
    <dgm:pt modelId="{72522D53-E49A-44CA-8E8E-241BA81A6D70}" type="pres">
      <dgm:prSet presAssocID="{1DDB92A9-D743-4A24-8E98-DF31CDDD9177}" presName="parentLin" presStyleCnt="0"/>
      <dgm:spPr/>
    </dgm:pt>
    <dgm:pt modelId="{C4203C1D-2406-4E79-9E1E-93DE4B256D1E}" type="pres">
      <dgm:prSet presAssocID="{1DDB92A9-D743-4A24-8E98-DF31CDDD9177}" presName="parentLeftMargin" presStyleLbl="node1" presStyleIdx="0" presStyleCnt="3"/>
      <dgm:spPr/>
    </dgm:pt>
    <dgm:pt modelId="{7E9799F6-81B7-4855-87B0-90C2E41E8DED}" type="pres">
      <dgm:prSet presAssocID="{1DDB92A9-D743-4A24-8E98-DF31CDDD9177}" presName="parentText" presStyleLbl="node1" presStyleIdx="1" presStyleCnt="3">
        <dgm:presLayoutVars>
          <dgm:chMax val="0"/>
          <dgm:bulletEnabled val="1"/>
        </dgm:presLayoutVars>
      </dgm:prSet>
      <dgm:spPr/>
    </dgm:pt>
    <dgm:pt modelId="{3B4C96A7-29D7-4B57-BC70-615E76304A61}" type="pres">
      <dgm:prSet presAssocID="{1DDB92A9-D743-4A24-8E98-DF31CDDD9177}" presName="negativeSpace" presStyleCnt="0"/>
      <dgm:spPr/>
    </dgm:pt>
    <dgm:pt modelId="{2F69BC5B-BA62-4172-BD69-7DBA41A6F5FB}" type="pres">
      <dgm:prSet presAssocID="{1DDB92A9-D743-4A24-8E98-DF31CDDD9177}" presName="childText" presStyleLbl="conFgAcc1" presStyleIdx="1" presStyleCnt="3">
        <dgm:presLayoutVars>
          <dgm:bulletEnabled val="1"/>
        </dgm:presLayoutVars>
      </dgm:prSet>
      <dgm:spPr/>
    </dgm:pt>
    <dgm:pt modelId="{80021346-6FBE-4C23-99B4-5287C8AC320B}" type="pres">
      <dgm:prSet presAssocID="{F3953B7D-D493-47F0-8789-CD476C5AE14F}" presName="spaceBetweenRectangles" presStyleCnt="0"/>
      <dgm:spPr/>
    </dgm:pt>
    <dgm:pt modelId="{CC42FADF-3797-4C04-AC65-9EC38D6F399A}" type="pres">
      <dgm:prSet presAssocID="{F04A2CDE-B32E-4E15-ABAF-C94244760C66}" presName="parentLin" presStyleCnt="0"/>
      <dgm:spPr/>
    </dgm:pt>
    <dgm:pt modelId="{6C7AEB45-F04B-4C3E-89B3-6D7AAAACBDD2}" type="pres">
      <dgm:prSet presAssocID="{F04A2CDE-B32E-4E15-ABAF-C94244760C66}" presName="parentLeftMargin" presStyleLbl="node1" presStyleIdx="1" presStyleCnt="3"/>
      <dgm:spPr/>
    </dgm:pt>
    <dgm:pt modelId="{2396BCA0-0635-423D-A675-2BCC1343A673}" type="pres">
      <dgm:prSet presAssocID="{F04A2CDE-B32E-4E15-ABAF-C94244760C66}" presName="parentText" presStyleLbl="node1" presStyleIdx="2" presStyleCnt="3">
        <dgm:presLayoutVars>
          <dgm:chMax val="0"/>
          <dgm:bulletEnabled val="1"/>
        </dgm:presLayoutVars>
      </dgm:prSet>
      <dgm:spPr/>
    </dgm:pt>
    <dgm:pt modelId="{B2C94698-E906-4B6B-9A6A-684B614EAC1F}" type="pres">
      <dgm:prSet presAssocID="{F04A2CDE-B32E-4E15-ABAF-C94244760C66}" presName="negativeSpace" presStyleCnt="0"/>
      <dgm:spPr/>
    </dgm:pt>
    <dgm:pt modelId="{4CAB55BE-25A2-4BB8-AB48-4116AA68E193}" type="pres">
      <dgm:prSet presAssocID="{F04A2CDE-B32E-4E15-ABAF-C94244760C66}" presName="childText" presStyleLbl="conFgAcc1" presStyleIdx="2" presStyleCnt="3">
        <dgm:presLayoutVars>
          <dgm:bulletEnabled val="1"/>
        </dgm:presLayoutVars>
      </dgm:prSet>
      <dgm:spPr/>
    </dgm:pt>
  </dgm:ptLst>
  <dgm:cxnLst>
    <dgm:cxn modelId="{69F43302-51D0-4DA0-90C7-1C3F4BD1C335}" type="presOf" srcId="{2AE2592A-B5D1-4F2E-982E-386BA64E7FE4}" destId="{2F69BC5B-BA62-4172-BD69-7DBA41A6F5FB}" srcOrd="0" destOrd="1" presId="urn:microsoft.com/office/officeart/2005/8/layout/list1"/>
    <dgm:cxn modelId="{680B2604-A29B-4498-86E5-083413B29709}" type="presOf" srcId="{8BBCEA75-DC65-453C-912E-B989DEB9A104}" destId="{4CAB55BE-25A2-4BB8-AB48-4116AA68E193}" srcOrd="0" destOrd="2" presId="urn:microsoft.com/office/officeart/2005/8/layout/list1"/>
    <dgm:cxn modelId="{0C2D8909-71B5-4C6B-AC6F-A0241460ECF3}" type="presOf" srcId="{D2F48AC3-70B9-4E55-9A6D-FA0A91AE9D37}" destId="{2F69BC5B-BA62-4172-BD69-7DBA41A6F5FB}" srcOrd="0" destOrd="2" presId="urn:microsoft.com/office/officeart/2005/8/layout/list1"/>
    <dgm:cxn modelId="{9BD06A0E-A14D-4533-B740-00CCF7D37B7C}" type="presOf" srcId="{1DDB92A9-D743-4A24-8E98-DF31CDDD9177}" destId="{C4203C1D-2406-4E79-9E1E-93DE4B256D1E}" srcOrd="0" destOrd="0" presId="urn:microsoft.com/office/officeart/2005/8/layout/list1"/>
    <dgm:cxn modelId="{48DB7F1A-7A43-4F16-B04F-6F346B0CD68E}" srcId="{1DDB92A9-D743-4A24-8E98-DF31CDDD9177}" destId="{D2F48AC3-70B9-4E55-9A6D-FA0A91AE9D37}" srcOrd="2" destOrd="0" parTransId="{112465FC-8C64-4A5B-A5E0-7F85B256EC20}" sibTransId="{5FBC4313-121F-499D-964E-687A59CD25C9}"/>
    <dgm:cxn modelId="{CD73062E-5E41-438E-818D-F7A8CBDF7415}" type="presOf" srcId="{F04A2CDE-B32E-4E15-ABAF-C94244760C66}" destId="{6C7AEB45-F04B-4C3E-89B3-6D7AAAACBDD2}" srcOrd="0" destOrd="0" presId="urn:microsoft.com/office/officeart/2005/8/layout/list1"/>
    <dgm:cxn modelId="{2E87A12E-2A7A-4E11-8023-A80727E7595B}" type="presOf" srcId="{881504A0-101B-4C9B-B864-A3FCD17CC743}" destId="{9351F1E7-A79B-4D89-8B49-9449E89A8ECF}" srcOrd="0" destOrd="1" presId="urn:microsoft.com/office/officeart/2005/8/layout/list1"/>
    <dgm:cxn modelId="{0AEE303B-A181-46CC-BF20-BB89B5A6DF38}" type="presOf" srcId="{F3BB1C41-A5AF-40EC-A6DF-C8506C06AAC7}" destId="{2F69BC5B-BA62-4172-BD69-7DBA41A6F5FB}" srcOrd="0" destOrd="4" presId="urn:microsoft.com/office/officeart/2005/8/layout/list1"/>
    <dgm:cxn modelId="{6375E03F-9CDB-43F5-A854-4E8CE06742D2}" srcId="{F04A2CDE-B32E-4E15-ABAF-C94244760C66}" destId="{8BBCEA75-DC65-453C-912E-B989DEB9A104}" srcOrd="2" destOrd="0" parTransId="{7A895ADB-A748-47E9-BB1A-D5A65382DDE5}" sibTransId="{FC3D9F51-05BA-4AE7-8BC8-F11E982E7D1F}"/>
    <dgm:cxn modelId="{58637C45-C7E1-4A6D-8C2F-FD34D80C0142}" type="presOf" srcId="{4DB12C2E-0D05-46A7-B8A1-A055655C7456}" destId="{9351F1E7-A79B-4D89-8B49-9449E89A8ECF}" srcOrd="0" destOrd="0" presId="urn:microsoft.com/office/officeart/2005/8/layout/list1"/>
    <dgm:cxn modelId="{BC6D4166-33C0-416C-8E2A-38B6A6F776F2}" srcId="{1DDB92A9-D743-4A24-8E98-DF31CDDD9177}" destId="{2AE2592A-B5D1-4F2E-982E-386BA64E7FE4}" srcOrd="1" destOrd="0" parTransId="{A58EA52D-4A9B-4329-8662-BE15523F8915}" sibTransId="{C9FC2241-692F-4BD2-B11A-A7C9142659D8}"/>
    <dgm:cxn modelId="{2BED6F67-D68B-4FD2-B52F-680F987B51CB}" srcId="{2B7EADF5-F7B5-4214-B745-D5D0BB5B8C03}" destId="{21F3CA27-7B1F-46EF-B4F3-FDFB0FC44A27}" srcOrd="0" destOrd="0" parTransId="{C339B55E-C889-48A4-90BF-0557E745E144}" sibTransId="{B67121A7-34DC-4CE8-ADE7-AF44030C0C2A}"/>
    <dgm:cxn modelId="{41908B47-28B6-4603-8047-7AB6C6932060}" type="presOf" srcId="{21F3CA27-7B1F-46EF-B4F3-FDFB0FC44A27}" destId="{7D2190D3-3BE9-4A1B-A9EA-0FE0B7C5D4E5}" srcOrd="0" destOrd="0" presId="urn:microsoft.com/office/officeart/2005/8/layout/list1"/>
    <dgm:cxn modelId="{B637C353-9224-44D0-88E9-E35E2E95DA32}" type="presOf" srcId="{21F3CA27-7B1F-46EF-B4F3-FDFB0FC44A27}" destId="{DB2B3805-21F2-4824-8161-817A5857F3C2}" srcOrd="1" destOrd="0" presId="urn:microsoft.com/office/officeart/2005/8/layout/list1"/>
    <dgm:cxn modelId="{B43C8978-BA60-488D-8783-58CB3D6C5B81}" srcId="{1DDB92A9-D743-4A24-8E98-DF31CDDD9177}" destId="{DFE32911-FA3D-417B-998C-AEC8BC95796C}" srcOrd="0" destOrd="0" parTransId="{EF3CDED7-49F1-4B9E-8E55-67B1029C4580}" sibTransId="{363DDFA0-784D-447C-AE6E-377C6062DE04}"/>
    <dgm:cxn modelId="{1AC18B80-99C1-48E6-B509-2EC4009BC6C6}" type="presOf" srcId="{2B7EADF5-F7B5-4214-B745-D5D0BB5B8C03}" destId="{C87E9D04-527A-417E-9B3B-076F01722C0B}" srcOrd="0" destOrd="0" presId="urn:microsoft.com/office/officeart/2005/8/layout/list1"/>
    <dgm:cxn modelId="{B98C9083-EDA0-447F-BFE0-F4F48AD60ADE}" type="presOf" srcId="{DFE32911-FA3D-417B-998C-AEC8BC95796C}" destId="{2F69BC5B-BA62-4172-BD69-7DBA41A6F5FB}" srcOrd="0" destOrd="0" presId="urn:microsoft.com/office/officeart/2005/8/layout/list1"/>
    <dgm:cxn modelId="{85429B93-D193-4CB1-81A8-99DEC4E1C386}" srcId="{1DDB92A9-D743-4A24-8E98-DF31CDDD9177}" destId="{63A73FB5-9A66-40DC-90C0-8D6C02028528}" srcOrd="3" destOrd="0" parTransId="{046705D4-17E3-43F3-8087-F3E74C1E7A51}" sibTransId="{E9962190-234C-4DFD-9B69-F8273D083575}"/>
    <dgm:cxn modelId="{F68BE397-B334-496E-9E0F-57D2C68054ED}" srcId="{21F3CA27-7B1F-46EF-B4F3-FDFB0FC44A27}" destId="{881504A0-101B-4C9B-B864-A3FCD17CC743}" srcOrd="1" destOrd="0" parTransId="{94C46722-C6C2-4ADA-B3A6-D5B36480BDEE}" sibTransId="{26078434-6A7D-43F3-B0AF-4BF35CC57D54}"/>
    <dgm:cxn modelId="{9739F097-0FA6-48E5-AA1B-CDCDD6A4FEF5}" type="presOf" srcId="{8E23764F-E8A6-4662-8049-3E9F4B681B8E}" destId="{4CAB55BE-25A2-4BB8-AB48-4116AA68E193}" srcOrd="0" destOrd="1" presId="urn:microsoft.com/office/officeart/2005/8/layout/list1"/>
    <dgm:cxn modelId="{DCDF14A5-F73B-4A62-8BF9-CA0FE0933379}" type="presOf" srcId="{63A73FB5-9A66-40DC-90C0-8D6C02028528}" destId="{2F69BC5B-BA62-4172-BD69-7DBA41A6F5FB}" srcOrd="0" destOrd="3" presId="urn:microsoft.com/office/officeart/2005/8/layout/list1"/>
    <dgm:cxn modelId="{D3F024B4-DB27-4726-A3A7-392B9EEE27C8}" type="presOf" srcId="{760FDC89-6F9F-4356-9C1C-3AB03E1A84CE}" destId="{4CAB55BE-25A2-4BB8-AB48-4116AA68E193}" srcOrd="0" destOrd="0" presId="urn:microsoft.com/office/officeart/2005/8/layout/list1"/>
    <dgm:cxn modelId="{073F31BF-00E7-4AE7-AD45-BE90707C22E5}" srcId="{21F3CA27-7B1F-46EF-B4F3-FDFB0FC44A27}" destId="{4DB12C2E-0D05-46A7-B8A1-A055655C7456}" srcOrd="0" destOrd="0" parTransId="{FA739991-6EB5-41BF-A26F-07E1BA3675D1}" sibTransId="{E0FDCE85-9650-44C1-8858-0337FD1FC5E7}"/>
    <dgm:cxn modelId="{D989A4C3-FB16-4F0B-A449-C7413591DAB7}" type="presOf" srcId="{F04A2CDE-B32E-4E15-ABAF-C94244760C66}" destId="{2396BCA0-0635-423D-A675-2BCC1343A673}" srcOrd="1" destOrd="0" presId="urn:microsoft.com/office/officeart/2005/8/layout/list1"/>
    <dgm:cxn modelId="{1D9CE2D0-4FEE-4225-9A57-033D47B4D2DE}" srcId="{F04A2CDE-B32E-4E15-ABAF-C94244760C66}" destId="{8E23764F-E8A6-4662-8049-3E9F4B681B8E}" srcOrd="1" destOrd="0" parTransId="{6A378AA0-3D98-4013-A81A-D0AB76303B4E}" sibTransId="{0C4948D8-5075-4B44-A8AD-4877819C2D24}"/>
    <dgm:cxn modelId="{07CBAED8-AAEB-4ECD-85B7-3B430ACDA145}" srcId="{F04A2CDE-B32E-4E15-ABAF-C94244760C66}" destId="{760FDC89-6F9F-4356-9C1C-3AB03E1A84CE}" srcOrd="0" destOrd="0" parTransId="{94E672AE-A962-4AE6-B776-BD780DC107A5}" sibTransId="{E9E4ACBA-2D16-4793-8D1E-D59932664B24}"/>
    <dgm:cxn modelId="{19E4EBE2-441B-4612-8739-08B97256CEC1}" srcId="{1DDB92A9-D743-4A24-8E98-DF31CDDD9177}" destId="{F3BB1C41-A5AF-40EC-A6DF-C8506C06AAC7}" srcOrd="4" destOrd="0" parTransId="{5B5D782A-7D32-4CCA-A486-F8531FC9FCAC}" sibTransId="{385D30A6-2CEF-419A-9F14-76EF1E3A8E0D}"/>
    <dgm:cxn modelId="{447A37E8-B3D5-4958-9889-463D41654053}" srcId="{2B7EADF5-F7B5-4214-B745-D5D0BB5B8C03}" destId="{F04A2CDE-B32E-4E15-ABAF-C94244760C66}" srcOrd="2" destOrd="0" parTransId="{2686A643-E48F-4083-AC78-961F257D64CB}" sibTransId="{1419B09C-7642-4D08-932E-15C25DECD6B0}"/>
    <dgm:cxn modelId="{278314F2-FDBD-4BC4-9ED0-D9A120C6D042}" type="presOf" srcId="{1DDB92A9-D743-4A24-8E98-DF31CDDD9177}" destId="{7E9799F6-81B7-4855-87B0-90C2E41E8DED}" srcOrd="1" destOrd="0" presId="urn:microsoft.com/office/officeart/2005/8/layout/list1"/>
    <dgm:cxn modelId="{F88D58F4-147B-4906-9E2F-2F35492DBB12}" srcId="{2B7EADF5-F7B5-4214-B745-D5D0BB5B8C03}" destId="{1DDB92A9-D743-4A24-8E98-DF31CDDD9177}" srcOrd="1" destOrd="0" parTransId="{8A73E01A-3F66-401C-BCBF-7147D8100B89}" sibTransId="{F3953B7D-D493-47F0-8789-CD476C5AE14F}"/>
    <dgm:cxn modelId="{1BD70167-323B-4502-AFBF-C6ADBD9346CC}" type="presParOf" srcId="{C87E9D04-527A-417E-9B3B-076F01722C0B}" destId="{DE09A4CC-9DB1-4470-BF18-7C21F4BC8920}" srcOrd="0" destOrd="0" presId="urn:microsoft.com/office/officeart/2005/8/layout/list1"/>
    <dgm:cxn modelId="{12DA0B94-D22D-4F12-B86C-6FBDD2EF9993}" type="presParOf" srcId="{DE09A4CC-9DB1-4470-BF18-7C21F4BC8920}" destId="{7D2190D3-3BE9-4A1B-A9EA-0FE0B7C5D4E5}" srcOrd="0" destOrd="0" presId="urn:microsoft.com/office/officeart/2005/8/layout/list1"/>
    <dgm:cxn modelId="{AB68AA02-7CFC-484E-A2DA-098744137317}" type="presParOf" srcId="{DE09A4CC-9DB1-4470-BF18-7C21F4BC8920}" destId="{DB2B3805-21F2-4824-8161-817A5857F3C2}" srcOrd="1" destOrd="0" presId="urn:microsoft.com/office/officeart/2005/8/layout/list1"/>
    <dgm:cxn modelId="{F7DAD5AD-8819-417B-A20D-02908037CDB6}" type="presParOf" srcId="{C87E9D04-527A-417E-9B3B-076F01722C0B}" destId="{032D3CD0-B658-4B1D-851B-AE87D05FAD12}" srcOrd="1" destOrd="0" presId="urn:microsoft.com/office/officeart/2005/8/layout/list1"/>
    <dgm:cxn modelId="{647828DA-1C57-4EB0-BB93-F673A9D269CC}" type="presParOf" srcId="{C87E9D04-527A-417E-9B3B-076F01722C0B}" destId="{9351F1E7-A79B-4D89-8B49-9449E89A8ECF}" srcOrd="2" destOrd="0" presId="urn:microsoft.com/office/officeart/2005/8/layout/list1"/>
    <dgm:cxn modelId="{FD5CF197-7F16-4B52-BA2F-F0BC1937EF32}" type="presParOf" srcId="{C87E9D04-527A-417E-9B3B-076F01722C0B}" destId="{50E273C9-002F-42E7-9021-B798733DA52C}" srcOrd="3" destOrd="0" presId="urn:microsoft.com/office/officeart/2005/8/layout/list1"/>
    <dgm:cxn modelId="{2D047B9C-235A-4344-BC04-33AEC79292D4}" type="presParOf" srcId="{C87E9D04-527A-417E-9B3B-076F01722C0B}" destId="{72522D53-E49A-44CA-8E8E-241BA81A6D70}" srcOrd="4" destOrd="0" presId="urn:microsoft.com/office/officeart/2005/8/layout/list1"/>
    <dgm:cxn modelId="{AA36A13C-6403-4937-AEA3-CADBED50F9DA}" type="presParOf" srcId="{72522D53-E49A-44CA-8E8E-241BA81A6D70}" destId="{C4203C1D-2406-4E79-9E1E-93DE4B256D1E}" srcOrd="0" destOrd="0" presId="urn:microsoft.com/office/officeart/2005/8/layout/list1"/>
    <dgm:cxn modelId="{D4A9CE27-1CBB-4AFB-8F41-70C50F7FBF95}" type="presParOf" srcId="{72522D53-E49A-44CA-8E8E-241BA81A6D70}" destId="{7E9799F6-81B7-4855-87B0-90C2E41E8DED}" srcOrd="1" destOrd="0" presId="urn:microsoft.com/office/officeart/2005/8/layout/list1"/>
    <dgm:cxn modelId="{36166ED6-F651-4D3B-9691-E1F96B1F434B}" type="presParOf" srcId="{C87E9D04-527A-417E-9B3B-076F01722C0B}" destId="{3B4C96A7-29D7-4B57-BC70-615E76304A61}" srcOrd="5" destOrd="0" presId="urn:microsoft.com/office/officeart/2005/8/layout/list1"/>
    <dgm:cxn modelId="{96AF9A28-8465-4D1C-A900-3291F9D32A0C}" type="presParOf" srcId="{C87E9D04-527A-417E-9B3B-076F01722C0B}" destId="{2F69BC5B-BA62-4172-BD69-7DBA41A6F5FB}" srcOrd="6" destOrd="0" presId="urn:microsoft.com/office/officeart/2005/8/layout/list1"/>
    <dgm:cxn modelId="{47E3FEF1-9887-405E-880B-BC6D6304AD48}" type="presParOf" srcId="{C87E9D04-527A-417E-9B3B-076F01722C0B}" destId="{80021346-6FBE-4C23-99B4-5287C8AC320B}" srcOrd="7" destOrd="0" presId="urn:microsoft.com/office/officeart/2005/8/layout/list1"/>
    <dgm:cxn modelId="{F2956CB1-BCDF-421D-AF49-9D4BD57277BB}" type="presParOf" srcId="{C87E9D04-527A-417E-9B3B-076F01722C0B}" destId="{CC42FADF-3797-4C04-AC65-9EC38D6F399A}" srcOrd="8" destOrd="0" presId="urn:microsoft.com/office/officeart/2005/8/layout/list1"/>
    <dgm:cxn modelId="{134659DE-55EE-4548-88E3-0182E50C3422}" type="presParOf" srcId="{CC42FADF-3797-4C04-AC65-9EC38D6F399A}" destId="{6C7AEB45-F04B-4C3E-89B3-6D7AAAACBDD2}" srcOrd="0" destOrd="0" presId="urn:microsoft.com/office/officeart/2005/8/layout/list1"/>
    <dgm:cxn modelId="{F7FFEF29-1C2E-41B4-BFF5-22FDE77A6CFE}" type="presParOf" srcId="{CC42FADF-3797-4C04-AC65-9EC38D6F399A}" destId="{2396BCA0-0635-423D-A675-2BCC1343A673}" srcOrd="1" destOrd="0" presId="urn:microsoft.com/office/officeart/2005/8/layout/list1"/>
    <dgm:cxn modelId="{E965F0AB-00C8-4C6B-8EDE-E7EB6199DF45}" type="presParOf" srcId="{C87E9D04-527A-417E-9B3B-076F01722C0B}" destId="{B2C94698-E906-4B6B-9A6A-684B614EAC1F}" srcOrd="9" destOrd="0" presId="urn:microsoft.com/office/officeart/2005/8/layout/list1"/>
    <dgm:cxn modelId="{DFC7A92F-5D11-4AC2-A94B-60A62515E560}" type="presParOf" srcId="{C87E9D04-527A-417E-9B3B-076F01722C0B}" destId="{4CAB55BE-25A2-4BB8-AB48-4116AA68E193}"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BA62FB8E-DA35-4871-B11B-5998A54A9CA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E93122CF-AC3A-4D5B-A2F9-88AF1219BFC9}">
      <dgm:prSet/>
      <dgm:spPr/>
      <dgm:t>
        <a:bodyPr/>
        <a:lstStyle/>
        <a:p>
          <a:r>
            <a:rPr lang="en-US" baseline="0"/>
            <a:t>Supports </a:t>
          </a:r>
          <a:r>
            <a:rPr lang="en-US" b="1" baseline="0"/>
            <a:t>many</a:t>
          </a:r>
          <a:r>
            <a:rPr lang="en-US" baseline="0"/>
            <a:t> programming languages</a:t>
          </a:r>
          <a:endParaRPr lang="en-US"/>
        </a:p>
      </dgm:t>
    </dgm:pt>
    <dgm:pt modelId="{3C9474D1-0414-43F5-8761-9A90CFD4770A}" type="parTrans" cxnId="{4E8B0E92-1E3C-43CD-8BD1-B51D296C5D4F}">
      <dgm:prSet/>
      <dgm:spPr/>
      <dgm:t>
        <a:bodyPr/>
        <a:lstStyle/>
        <a:p>
          <a:endParaRPr lang="en-US"/>
        </a:p>
      </dgm:t>
    </dgm:pt>
    <dgm:pt modelId="{BD8E3EC7-E59B-40BA-BEFE-143A0E5D135A}" type="sibTrans" cxnId="{4E8B0E92-1E3C-43CD-8BD1-B51D296C5D4F}">
      <dgm:prSet/>
      <dgm:spPr/>
      <dgm:t>
        <a:bodyPr/>
        <a:lstStyle/>
        <a:p>
          <a:endParaRPr lang="en-US"/>
        </a:p>
      </dgm:t>
    </dgm:pt>
    <dgm:pt modelId="{F38E4018-B356-4A62-B3B2-6D85BDFED90F}">
      <dgm:prSet/>
      <dgm:spPr/>
      <dgm:t>
        <a:bodyPr/>
        <a:lstStyle/>
        <a:p>
          <a:r>
            <a:rPr lang="en-US" baseline="0"/>
            <a:t>Multiple versions of </a:t>
          </a:r>
          <a:r>
            <a:rPr lang="en-US" b="1" baseline="0"/>
            <a:t>PowerShell</a:t>
          </a:r>
          <a:r>
            <a:rPr lang="en-US" baseline="0"/>
            <a:t> supported</a:t>
          </a:r>
          <a:endParaRPr lang="en-US"/>
        </a:p>
      </dgm:t>
    </dgm:pt>
    <dgm:pt modelId="{16FF89F9-571E-4A3D-970C-293B3AF2148B}" type="parTrans" cxnId="{648B1BED-8425-4C29-8B2D-51C9B1C2238B}">
      <dgm:prSet/>
      <dgm:spPr/>
      <dgm:t>
        <a:bodyPr/>
        <a:lstStyle/>
        <a:p>
          <a:endParaRPr lang="en-US"/>
        </a:p>
      </dgm:t>
    </dgm:pt>
    <dgm:pt modelId="{F151DC6D-2481-4F32-B4AC-C5E44C014B0A}" type="sibTrans" cxnId="{648B1BED-8425-4C29-8B2D-51C9B1C2238B}">
      <dgm:prSet/>
      <dgm:spPr/>
      <dgm:t>
        <a:bodyPr/>
        <a:lstStyle/>
        <a:p>
          <a:endParaRPr lang="en-US"/>
        </a:p>
      </dgm:t>
    </dgm:pt>
    <dgm:pt modelId="{B9427888-31EC-40D7-9D2D-497A3B812263}">
      <dgm:prSet/>
      <dgm:spPr/>
      <dgm:t>
        <a:bodyPr/>
        <a:lstStyle/>
        <a:p>
          <a:r>
            <a:rPr lang="en-US" baseline="0"/>
            <a:t>Code </a:t>
          </a:r>
          <a:r>
            <a:rPr lang="en-US" b="1" baseline="0"/>
            <a:t>execution</a:t>
          </a:r>
          <a:r>
            <a:rPr lang="en-US" baseline="0"/>
            <a:t> and </a:t>
          </a:r>
          <a:r>
            <a:rPr lang="en-US" b="1" baseline="0"/>
            <a:t>debugging</a:t>
          </a:r>
          <a:endParaRPr lang="en-US" b="1"/>
        </a:p>
      </dgm:t>
    </dgm:pt>
    <dgm:pt modelId="{295A74B8-4AC2-48A2-B0E4-ED284D2C3604}" type="parTrans" cxnId="{8582264A-0535-4587-BBAB-41714C6C0144}">
      <dgm:prSet/>
      <dgm:spPr/>
      <dgm:t>
        <a:bodyPr/>
        <a:lstStyle/>
        <a:p>
          <a:endParaRPr lang="en-US"/>
        </a:p>
      </dgm:t>
    </dgm:pt>
    <dgm:pt modelId="{8BDEF6A4-B45E-41BD-8FCA-10BF598711E8}" type="sibTrans" cxnId="{8582264A-0535-4587-BBAB-41714C6C0144}">
      <dgm:prSet/>
      <dgm:spPr/>
      <dgm:t>
        <a:bodyPr/>
        <a:lstStyle/>
        <a:p>
          <a:endParaRPr lang="en-US"/>
        </a:p>
      </dgm:t>
    </dgm:pt>
    <dgm:pt modelId="{3C35C654-8183-4C13-B695-12F7C563D25A}">
      <dgm:prSet/>
      <dgm:spPr/>
      <dgm:t>
        <a:bodyPr/>
        <a:lstStyle/>
        <a:p>
          <a:r>
            <a:rPr lang="en-US" baseline="0"/>
            <a:t>Source Control </a:t>
          </a:r>
          <a:r>
            <a:rPr lang="en-US" b="1" baseline="0"/>
            <a:t>Integration</a:t>
          </a:r>
          <a:endParaRPr lang="en-US" b="1"/>
        </a:p>
      </dgm:t>
    </dgm:pt>
    <dgm:pt modelId="{C6424117-C11E-4CCD-B379-E8816D98AB99}" type="parTrans" cxnId="{23C1AC9A-A160-4033-B92A-D27CB02090BA}">
      <dgm:prSet/>
      <dgm:spPr/>
      <dgm:t>
        <a:bodyPr/>
        <a:lstStyle/>
        <a:p>
          <a:endParaRPr lang="en-US"/>
        </a:p>
      </dgm:t>
    </dgm:pt>
    <dgm:pt modelId="{9957DE71-F296-45DF-BAE9-98174AAB6DE9}" type="sibTrans" cxnId="{23C1AC9A-A160-4033-B92A-D27CB02090BA}">
      <dgm:prSet/>
      <dgm:spPr/>
      <dgm:t>
        <a:bodyPr/>
        <a:lstStyle/>
        <a:p>
          <a:endParaRPr lang="en-US"/>
        </a:p>
      </dgm:t>
    </dgm:pt>
    <dgm:pt modelId="{298ED1AD-233B-4E38-A0DB-CFE5C0603C98}">
      <dgm:prSet/>
      <dgm:spPr/>
      <dgm:t>
        <a:bodyPr/>
        <a:lstStyle/>
        <a:p>
          <a:r>
            <a:rPr lang="en-US" b="1" baseline="0"/>
            <a:t>Free</a:t>
          </a:r>
          <a:endParaRPr lang="en-US" b="1"/>
        </a:p>
      </dgm:t>
    </dgm:pt>
    <dgm:pt modelId="{7707B2CE-C756-43E4-80C1-D485730B6562}" type="parTrans" cxnId="{1B5075F6-7C5C-42CE-AEAC-1C7F039DA013}">
      <dgm:prSet/>
      <dgm:spPr/>
      <dgm:t>
        <a:bodyPr/>
        <a:lstStyle/>
        <a:p>
          <a:endParaRPr lang="en-US"/>
        </a:p>
      </dgm:t>
    </dgm:pt>
    <dgm:pt modelId="{160B1937-F404-49BD-B8E3-20FF4C65B4B0}" type="sibTrans" cxnId="{1B5075F6-7C5C-42CE-AEAC-1C7F039DA013}">
      <dgm:prSet/>
      <dgm:spPr/>
      <dgm:t>
        <a:bodyPr/>
        <a:lstStyle/>
        <a:p>
          <a:endParaRPr lang="en-US"/>
        </a:p>
      </dgm:t>
    </dgm:pt>
    <dgm:pt modelId="{D71D0ADC-2174-4CE3-9E2B-379CDB18272F}">
      <dgm:prSet/>
      <dgm:spPr/>
      <dgm:t>
        <a:bodyPr/>
        <a:lstStyle/>
        <a:p>
          <a:r>
            <a:rPr lang="en-US" baseline="0"/>
            <a:t>Compatible with </a:t>
          </a:r>
          <a:r>
            <a:rPr lang="en-US" b="1" i="0" baseline="0"/>
            <a:t>all</a:t>
          </a:r>
          <a:r>
            <a:rPr lang="en-US" baseline="0"/>
            <a:t> OS’s</a:t>
          </a:r>
          <a:endParaRPr lang="en-US"/>
        </a:p>
      </dgm:t>
    </dgm:pt>
    <dgm:pt modelId="{29006724-C7DE-40A5-BE67-609E05AE78D1}" type="parTrans" cxnId="{2282A1B1-C2C5-4A5E-9675-A40DFD730808}">
      <dgm:prSet/>
      <dgm:spPr/>
      <dgm:t>
        <a:bodyPr/>
        <a:lstStyle/>
        <a:p>
          <a:endParaRPr lang="en-US"/>
        </a:p>
      </dgm:t>
    </dgm:pt>
    <dgm:pt modelId="{8559E2F7-F491-4E41-BA8F-E8C3729F1D96}" type="sibTrans" cxnId="{2282A1B1-C2C5-4A5E-9675-A40DFD730808}">
      <dgm:prSet/>
      <dgm:spPr/>
      <dgm:t>
        <a:bodyPr/>
        <a:lstStyle/>
        <a:p>
          <a:endParaRPr lang="en-US"/>
        </a:p>
      </dgm:t>
    </dgm:pt>
    <dgm:pt modelId="{684E8BD3-8D3A-4722-AD55-17DC839C58B6}">
      <dgm:prSet/>
      <dgm:spPr/>
      <dgm:t>
        <a:bodyPr/>
        <a:lstStyle/>
        <a:p>
          <a:r>
            <a:rPr lang="en-US" b="1" baseline="0"/>
            <a:t>Graphical Editor </a:t>
          </a:r>
          <a:r>
            <a:rPr lang="en-US" baseline="0"/>
            <a:t>like the ISE</a:t>
          </a:r>
          <a:endParaRPr lang="en-US"/>
        </a:p>
      </dgm:t>
    </dgm:pt>
    <dgm:pt modelId="{92A4CE0F-ABBA-4A76-ADC1-68830F1C696E}" type="parTrans" cxnId="{DAA1466B-E636-46AD-8333-7F4D3030EE70}">
      <dgm:prSet/>
      <dgm:spPr/>
      <dgm:t>
        <a:bodyPr/>
        <a:lstStyle/>
        <a:p>
          <a:endParaRPr lang="en-US"/>
        </a:p>
      </dgm:t>
    </dgm:pt>
    <dgm:pt modelId="{52C555E4-25CF-4EC8-971C-02D7B2D92A73}" type="sibTrans" cxnId="{DAA1466B-E636-46AD-8333-7F4D3030EE70}">
      <dgm:prSet/>
      <dgm:spPr/>
      <dgm:t>
        <a:bodyPr/>
        <a:lstStyle/>
        <a:p>
          <a:endParaRPr lang="en-US"/>
        </a:p>
      </dgm:t>
    </dgm:pt>
    <dgm:pt modelId="{11D606D3-AD18-4F81-8F43-1765189D29B9}">
      <dgm:prSet/>
      <dgm:spPr/>
      <dgm:t>
        <a:bodyPr/>
        <a:lstStyle/>
        <a:p>
          <a:r>
            <a:rPr lang="en-US" b="1"/>
            <a:t>Extension</a:t>
          </a:r>
          <a:r>
            <a:rPr lang="en-US"/>
            <a:t> library</a:t>
          </a:r>
        </a:p>
      </dgm:t>
    </dgm:pt>
    <dgm:pt modelId="{3233876A-FE26-4F28-A55C-C813B15DE8BF}" type="parTrans" cxnId="{0237F0A6-26CE-48CC-AAD2-B5402165F8DF}">
      <dgm:prSet/>
      <dgm:spPr/>
      <dgm:t>
        <a:bodyPr/>
        <a:lstStyle/>
        <a:p>
          <a:endParaRPr lang="en-US"/>
        </a:p>
      </dgm:t>
    </dgm:pt>
    <dgm:pt modelId="{5DE57EE3-EDEB-4CE2-A407-FC813BA55AC1}" type="sibTrans" cxnId="{0237F0A6-26CE-48CC-AAD2-B5402165F8DF}">
      <dgm:prSet/>
      <dgm:spPr/>
      <dgm:t>
        <a:bodyPr/>
        <a:lstStyle/>
        <a:p>
          <a:endParaRPr lang="en-US"/>
        </a:p>
      </dgm:t>
    </dgm:pt>
    <dgm:pt modelId="{DA16CE88-5482-42C2-AE96-C6341EF996B4}" type="pres">
      <dgm:prSet presAssocID="{BA62FB8E-DA35-4871-B11B-5998A54A9CA7}" presName="diagram" presStyleCnt="0">
        <dgm:presLayoutVars>
          <dgm:dir/>
          <dgm:resizeHandles val="exact"/>
        </dgm:presLayoutVars>
      </dgm:prSet>
      <dgm:spPr/>
    </dgm:pt>
    <dgm:pt modelId="{C6D8D92A-6D11-4CF5-822E-E9EF0A5EA5C7}" type="pres">
      <dgm:prSet presAssocID="{684E8BD3-8D3A-4722-AD55-17DC839C58B6}" presName="node" presStyleLbl="node1" presStyleIdx="0" presStyleCnt="8">
        <dgm:presLayoutVars>
          <dgm:bulletEnabled val="1"/>
        </dgm:presLayoutVars>
      </dgm:prSet>
      <dgm:spPr/>
    </dgm:pt>
    <dgm:pt modelId="{711D7B26-7411-44E1-9757-0D9F8DD7A12E}" type="pres">
      <dgm:prSet presAssocID="{52C555E4-25CF-4EC8-971C-02D7B2D92A73}" presName="sibTrans" presStyleCnt="0"/>
      <dgm:spPr/>
    </dgm:pt>
    <dgm:pt modelId="{EB40FB3B-6418-4E85-9008-99DD39E07179}" type="pres">
      <dgm:prSet presAssocID="{E93122CF-AC3A-4D5B-A2F9-88AF1219BFC9}" presName="node" presStyleLbl="node1" presStyleIdx="1" presStyleCnt="8">
        <dgm:presLayoutVars>
          <dgm:bulletEnabled val="1"/>
        </dgm:presLayoutVars>
      </dgm:prSet>
      <dgm:spPr/>
    </dgm:pt>
    <dgm:pt modelId="{AFB0DDB0-9DC4-4ECA-B9E0-B01C7E301F84}" type="pres">
      <dgm:prSet presAssocID="{BD8E3EC7-E59B-40BA-BEFE-143A0E5D135A}" presName="sibTrans" presStyleCnt="0"/>
      <dgm:spPr/>
    </dgm:pt>
    <dgm:pt modelId="{25EA1045-3962-4E35-AC5D-9EAC61639380}" type="pres">
      <dgm:prSet presAssocID="{F38E4018-B356-4A62-B3B2-6D85BDFED90F}" presName="node" presStyleLbl="node1" presStyleIdx="2" presStyleCnt="8">
        <dgm:presLayoutVars>
          <dgm:bulletEnabled val="1"/>
        </dgm:presLayoutVars>
      </dgm:prSet>
      <dgm:spPr/>
    </dgm:pt>
    <dgm:pt modelId="{C09862F4-89E8-4907-BCDD-A3C916C98F77}" type="pres">
      <dgm:prSet presAssocID="{F151DC6D-2481-4F32-B4AC-C5E44C014B0A}" presName="sibTrans" presStyleCnt="0"/>
      <dgm:spPr/>
    </dgm:pt>
    <dgm:pt modelId="{E54F445C-88AE-43CB-8BD8-C1E665DF95F5}" type="pres">
      <dgm:prSet presAssocID="{B9427888-31EC-40D7-9D2D-497A3B812263}" presName="node" presStyleLbl="node1" presStyleIdx="3" presStyleCnt="8">
        <dgm:presLayoutVars>
          <dgm:bulletEnabled val="1"/>
        </dgm:presLayoutVars>
      </dgm:prSet>
      <dgm:spPr/>
    </dgm:pt>
    <dgm:pt modelId="{ED4014DA-F1FD-427C-B049-DE5E36D1CA95}" type="pres">
      <dgm:prSet presAssocID="{8BDEF6A4-B45E-41BD-8FCA-10BF598711E8}" presName="sibTrans" presStyleCnt="0"/>
      <dgm:spPr/>
    </dgm:pt>
    <dgm:pt modelId="{68CC5C03-2E76-4B73-B641-0A02A0B89B04}" type="pres">
      <dgm:prSet presAssocID="{3C35C654-8183-4C13-B695-12F7C563D25A}" presName="node" presStyleLbl="node1" presStyleIdx="4" presStyleCnt="8">
        <dgm:presLayoutVars>
          <dgm:bulletEnabled val="1"/>
        </dgm:presLayoutVars>
      </dgm:prSet>
      <dgm:spPr/>
    </dgm:pt>
    <dgm:pt modelId="{4CD593B2-DDCF-429E-B527-7098AB628F19}" type="pres">
      <dgm:prSet presAssocID="{9957DE71-F296-45DF-BAE9-98174AAB6DE9}" presName="sibTrans" presStyleCnt="0"/>
      <dgm:spPr/>
    </dgm:pt>
    <dgm:pt modelId="{C20FF81C-88F8-42F9-BBF9-A08353B68C9A}" type="pres">
      <dgm:prSet presAssocID="{298ED1AD-233B-4E38-A0DB-CFE5C0603C98}" presName="node" presStyleLbl="node1" presStyleIdx="5" presStyleCnt="8">
        <dgm:presLayoutVars>
          <dgm:bulletEnabled val="1"/>
        </dgm:presLayoutVars>
      </dgm:prSet>
      <dgm:spPr/>
    </dgm:pt>
    <dgm:pt modelId="{A736AC45-9FE9-401C-A0A1-4AD48309A370}" type="pres">
      <dgm:prSet presAssocID="{160B1937-F404-49BD-B8E3-20FF4C65B4B0}" presName="sibTrans" presStyleCnt="0"/>
      <dgm:spPr/>
    </dgm:pt>
    <dgm:pt modelId="{193CEFA3-0450-4270-BE19-122547B19DFF}" type="pres">
      <dgm:prSet presAssocID="{D71D0ADC-2174-4CE3-9E2B-379CDB18272F}" presName="node" presStyleLbl="node1" presStyleIdx="6" presStyleCnt="8">
        <dgm:presLayoutVars>
          <dgm:bulletEnabled val="1"/>
        </dgm:presLayoutVars>
      </dgm:prSet>
      <dgm:spPr/>
    </dgm:pt>
    <dgm:pt modelId="{BDE6E9D2-3DE3-4316-A539-BDABAC04FE54}" type="pres">
      <dgm:prSet presAssocID="{8559E2F7-F491-4E41-BA8F-E8C3729F1D96}" presName="sibTrans" presStyleCnt="0"/>
      <dgm:spPr/>
    </dgm:pt>
    <dgm:pt modelId="{28A606CF-5208-4063-8197-8A4D152BE310}" type="pres">
      <dgm:prSet presAssocID="{11D606D3-AD18-4F81-8F43-1765189D29B9}" presName="node" presStyleLbl="node1" presStyleIdx="7" presStyleCnt="8">
        <dgm:presLayoutVars>
          <dgm:bulletEnabled val="1"/>
        </dgm:presLayoutVars>
      </dgm:prSet>
      <dgm:spPr/>
    </dgm:pt>
  </dgm:ptLst>
  <dgm:cxnLst>
    <dgm:cxn modelId="{0532AE1B-A75E-40BA-B7F9-74DE5F489679}" type="presOf" srcId="{BA62FB8E-DA35-4871-B11B-5998A54A9CA7}" destId="{DA16CE88-5482-42C2-AE96-C6341EF996B4}" srcOrd="0" destOrd="0" presId="urn:microsoft.com/office/officeart/2005/8/layout/default"/>
    <dgm:cxn modelId="{AD614640-DAA3-4976-9691-B81E03E35D1D}" type="presOf" srcId="{D71D0ADC-2174-4CE3-9E2B-379CDB18272F}" destId="{193CEFA3-0450-4270-BE19-122547B19DFF}" srcOrd="0" destOrd="0" presId="urn:microsoft.com/office/officeart/2005/8/layout/default"/>
    <dgm:cxn modelId="{4309E240-15E8-4420-86D6-F8A3655322C2}" type="presOf" srcId="{F38E4018-B356-4A62-B3B2-6D85BDFED90F}" destId="{25EA1045-3962-4E35-AC5D-9EAC61639380}" srcOrd="0" destOrd="0" presId="urn:microsoft.com/office/officeart/2005/8/layout/default"/>
    <dgm:cxn modelId="{8870385D-5CFA-43E2-99A2-3E42AE052D55}" type="presOf" srcId="{E93122CF-AC3A-4D5B-A2F9-88AF1219BFC9}" destId="{EB40FB3B-6418-4E85-9008-99DD39E07179}" srcOrd="0" destOrd="0" presId="urn:microsoft.com/office/officeart/2005/8/layout/default"/>
    <dgm:cxn modelId="{BBAB745D-F410-4000-8B75-A2BD0067CA29}" type="presOf" srcId="{11D606D3-AD18-4F81-8F43-1765189D29B9}" destId="{28A606CF-5208-4063-8197-8A4D152BE310}" srcOrd="0" destOrd="0" presId="urn:microsoft.com/office/officeart/2005/8/layout/default"/>
    <dgm:cxn modelId="{5B39C465-D170-4F70-9BF7-B080A3A56237}" type="presOf" srcId="{B9427888-31EC-40D7-9D2D-497A3B812263}" destId="{E54F445C-88AE-43CB-8BD8-C1E665DF95F5}" srcOrd="0" destOrd="0" presId="urn:microsoft.com/office/officeart/2005/8/layout/default"/>
    <dgm:cxn modelId="{8582264A-0535-4587-BBAB-41714C6C0144}" srcId="{BA62FB8E-DA35-4871-B11B-5998A54A9CA7}" destId="{B9427888-31EC-40D7-9D2D-497A3B812263}" srcOrd="3" destOrd="0" parTransId="{295A74B8-4AC2-48A2-B0E4-ED284D2C3604}" sibTransId="{8BDEF6A4-B45E-41BD-8FCA-10BF598711E8}"/>
    <dgm:cxn modelId="{DAA1466B-E636-46AD-8333-7F4D3030EE70}" srcId="{BA62FB8E-DA35-4871-B11B-5998A54A9CA7}" destId="{684E8BD3-8D3A-4722-AD55-17DC839C58B6}" srcOrd="0" destOrd="0" parTransId="{92A4CE0F-ABBA-4A76-ADC1-68830F1C696E}" sibTransId="{52C555E4-25CF-4EC8-971C-02D7B2D92A73}"/>
    <dgm:cxn modelId="{DECB137A-3092-4031-80D9-5FB17CA2185E}" type="presOf" srcId="{684E8BD3-8D3A-4722-AD55-17DC839C58B6}" destId="{C6D8D92A-6D11-4CF5-822E-E9EF0A5EA5C7}" srcOrd="0" destOrd="0" presId="urn:microsoft.com/office/officeart/2005/8/layout/default"/>
    <dgm:cxn modelId="{0C43378B-04AA-4E21-88C7-C90B4BEE29BD}" type="presOf" srcId="{3C35C654-8183-4C13-B695-12F7C563D25A}" destId="{68CC5C03-2E76-4B73-B641-0A02A0B89B04}" srcOrd="0" destOrd="0" presId="urn:microsoft.com/office/officeart/2005/8/layout/default"/>
    <dgm:cxn modelId="{4E8B0E92-1E3C-43CD-8BD1-B51D296C5D4F}" srcId="{BA62FB8E-DA35-4871-B11B-5998A54A9CA7}" destId="{E93122CF-AC3A-4D5B-A2F9-88AF1219BFC9}" srcOrd="1" destOrd="0" parTransId="{3C9474D1-0414-43F5-8761-9A90CFD4770A}" sibTransId="{BD8E3EC7-E59B-40BA-BEFE-143A0E5D135A}"/>
    <dgm:cxn modelId="{23C1AC9A-A160-4033-B92A-D27CB02090BA}" srcId="{BA62FB8E-DA35-4871-B11B-5998A54A9CA7}" destId="{3C35C654-8183-4C13-B695-12F7C563D25A}" srcOrd="4" destOrd="0" parTransId="{C6424117-C11E-4CCD-B379-E8816D98AB99}" sibTransId="{9957DE71-F296-45DF-BAE9-98174AAB6DE9}"/>
    <dgm:cxn modelId="{0237F0A6-26CE-48CC-AAD2-B5402165F8DF}" srcId="{BA62FB8E-DA35-4871-B11B-5998A54A9CA7}" destId="{11D606D3-AD18-4F81-8F43-1765189D29B9}" srcOrd="7" destOrd="0" parTransId="{3233876A-FE26-4F28-A55C-C813B15DE8BF}" sibTransId="{5DE57EE3-EDEB-4CE2-A407-FC813BA55AC1}"/>
    <dgm:cxn modelId="{2282A1B1-C2C5-4A5E-9675-A40DFD730808}" srcId="{BA62FB8E-DA35-4871-B11B-5998A54A9CA7}" destId="{D71D0ADC-2174-4CE3-9E2B-379CDB18272F}" srcOrd="6" destOrd="0" parTransId="{29006724-C7DE-40A5-BE67-609E05AE78D1}" sibTransId="{8559E2F7-F491-4E41-BA8F-E8C3729F1D96}"/>
    <dgm:cxn modelId="{B541D0D1-51F7-469F-99DB-D31D00C96FF8}" type="presOf" srcId="{298ED1AD-233B-4E38-A0DB-CFE5C0603C98}" destId="{C20FF81C-88F8-42F9-BBF9-A08353B68C9A}" srcOrd="0" destOrd="0" presId="urn:microsoft.com/office/officeart/2005/8/layout/default"/>
    <dgm:cxn modelId="{648B1BED-8425-4C29-8B2D-51C9B1C2238B}" srcId="{BA62FB8E-DA35-4871-B11B-5998A54A9CA7}" destId="{F38E4018-B356-4A62-B3B2-6D85BDFED90F}" srcOrd="2" destOrd="0" parTransId="{16FF89F9-571E-4A3D-970C-293B3AF2148B}" sibTransId="{F151DC6D-2481-4F32-B4AC-C5E44C014B0A}"/>
    <dgm:cxn modelId="{1B5075F6-7C5C-42CE-AEAC-1C7F039DA013}" srcId="{BA62FB8E-DA35-4871-B11B-5998A54A9CA7}" destId="{298ED1AD-233B-4E38-A0DB-CFE5C0603C98}" srcOrd="5" destOrd="0" parTransId="{7707B2CE-C756-43E4-80C1-D485730B6562}" sibTransId="{160B1937-F404-49BD-B8E3-20FF4C65B4B0}"/>
    <dgm:cxn modelId="{E0FD557D-EBE3-4C07-BF45-E7D56AA2294A}" type="presParOf" srcId="{DA16CE88-5482-42C2-AE96-C6341EF996B4}" destId="{C6D8D92A-6D11-4CF5-822E-E9EF0A5EA5C7}" srcOrd="0" destOrd="0" presId="urn:microsoft.com/office/officeart/2005/8/layout/default"/>
    <dgm:cxn modelId="{9C22ACA9-F72E-435E-A108-5B1AF815D30A}" type="presParOf" srcId="{DA16CE88-5482-42C2-AE96-C6341EF996B4}" destId="{711D7B26-7411-44E1-9757-0D9F8DD7A12E}" srcOrd="1" destOrd="0" presId="urn:microsoft.com/office/officeart/2005/8/layout/default"/>
    <dgm:cxn modelId="{17C8B420-60C7-400F-8D50-2E4FE58086D6}" type="presParOf" srcId="{DA16CE88-5482-42C2-AE96-C6341EF996B4}" destId="{EB40FB3B-6418-4E85-9008-99DD39E07179}" srcOrd="2" destOrd="0" presId="urn:microsoft.com/office/officeart/2005/8/layout/default"/>
    <dgm:cxn modelId="{A2BB1585-73FC-46D6-8B70-A06143A0369E}" type="presParOf" srcId="{DA16CE88-5482-42C2-AE96-C6341EF996B4}" destId="{AFB0DDB0-9DC4-4ECA-B9E0-B01C7E301F84}" srcOrd="3" destOrd="0" presId="urn:microsoft.com/office/officeart/2005/8/layout/default"/>
    <dgm:cxn modelId="{C1F0858F-1247-4000-B5C9-02A845D9A5CD}" type="presParOf" srcId="{DA16CE88-5482-42C2-AE96-C6341EF996B4}" destId="{25EA1045-3962-4E35-AC5D-9EAC61639380}" srcOrd="4" destOrd="0" presId="urn:microsoft.com/office/officeart/2005/8/layout/default"/>
    <dgm:cxn modelId="{4696D40E-7B41-4600-8FF0-C3859BEAF0A1}" type="presParOf" srcId="{DA16CE88-5482-42C2-AE96-C6341EF996B4}" destId="{C09862F4-89E8-4907-BCDD-A3C916C98F77}" srcOrd="5" destOrd="0" presId="urn:microsoft.com/office/officeart/2005/8/layout/default"/>
    <dgm:cxn modelId="{388DDDC4-1F76-4077-81C1-E0300162094E}" type="presParOf" srcId="{DA16CE88-5482-42C2-AE96-C6341EF996B4}" destId="{E54F445C-88AE-43CB-8BD8-C1E665DF95F5}" srcOrd="6" destOrd="0" presId="urn:microsoft.com/office/officeart/2005/8/layout/default"/>
    <dgm:cxn modelId="{2EB6710B-16D2-4645-85E5-F9E28101DC29}" type="presParOf" srcId="{DA16CE88-5482-42C2-AE96-C6341EF996B4}" destId="{ED4014DA-F1FD-427C-B049-DE5E36D1CA95}" srcOrd="7" destOrd="0" presId="urn:microsoft.com/office/officeart/2005/8/layout/default"/>
    <dgm:cxn modelId="{B8A9BAC8-BAF4-43BF-B343-0C7EDDD52729}" type="presParOf" srcId="{DA16CE88-5482-42C2-AE96-C6341EF996B4}" destId="{68CC5C03-2E76-4B73-B641-0A02A0B89B04}" srcOrd="8" destOrd="0" presId="urn:microsoft.com/office/officeart/2005/8/layout/default"/>
    <dgm:cxn modelId="{CEBDB13F-6C82-4D63-B386-5973954C9915}" type="presParOf" srcId="{DA16CE88-5482-42C2-AE96-C6341EF996B4}" destId="{4CD593B2-DDCF-429E-B527-7098AB628F19}" srcOrd="9" destOrd="0" presId="urn:microsoft.com/office/officeart/2005/8/layout/default"/>
    <dgm:cxn modelId="{098FF30C-FFC6-403E-AA57-64BACE57D0AB}" type="presParOf" srcId="{DA16CE88-5482-42C2-AE96-C6341EF996B4}" destId="{C20FF81C-88F8-42F9-BBF9-A08353B68C9A}" srcOrd="10" destOrd="0" presId="urn:microsoft.com/office/officeart/2005/8/layout/default"/>
    <dgm:cxn modelId="{B1347A30-D0A5-4C2F-BB97-54272A57643C}" type="presParOf" srcId="{DA16CE88-5482-42C2-AE96-C6341EF996B4}" destId="{A736AC45-9FE9-401C-A0A1-4AD48309A370}" srcOrd="11" destOrd="0" presId="urn:microsoft.com/office/officeart/2005/8/layout/default"/>
    <dgm:cxn modelId="{5FC2C52C-BDA1-4D1C-84F2-FF2A73E0A9CC}" type="presParOf" srcId="{DA16CE88-5482-42C2-AE96-C6341EF996B4}" destId="{193CEFA3-0450-4270-BE19-122547B19DFF}" srcOrd="12" destOrd="0" presId="urn:microsoft.com/office/officeart/2005/8/layout/default"/>
    <dgm:cxn modelId="{9E72FD3D-3A83-4176-BF1A-D1F73BEAB20F}" type="presParOf" srcId="{DA16CE88-5482-42C2-AE96-C6341EF996B4}" destId="{BDE6E9D2-3DE3-4316-A539-BDABAC04FE54}" srcOrd="13" destOrd="0" presId="urn:microsoft.com/office/officeart/2005/8/layout/default"/>
    <dgm:cxn modelId="{797EA176-E44A-481C-AD9A-3A629F12A6BD}" type="presParOf" srcId="{DA16CE88-5482-42C2-AE96-C6341EF996B4}" destId="{28A606CF-5208-4063-8197-8A4D152BE310}"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8B8DE14D-DD8C-4CCD-91F2-037F5FF82C1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E351FDE-8D35-4CB5-9513-8C93B8B3E65F}">
      <dgm:prSet custT="1"/>
      <dgm:spPr/>
      <dgm:t>
        <a:bodyPr/>
        <a:lstStyle/>
        <a:p>
          <a:r>
            <a:rPr lang="en-US" sz="1800" baseline="0"/>
            <a:t>Visual adjustments</a:t>
          </a:r>
          <a:endParaRPr lang="en-US" sz="1800"/>
        </a:p>
      </dgm:t>
    </dgm:pt>
    <dgm:pt modelId="{FA4C650F-A654-4451-8BE2-C47834D9DF10}" type="parTrans" cxnId="{841E4B3D-4B12-4B4F-BB83-4D868741CE10}">
      <dgm:prSet/>
      <dgm:spPr/>
      <dgm:t>
        <a:bodyPr/>
        <a:lstStyle/>
        <a:p>
          <a:endParaRPr lang="en-US" sz="1800"/>
        </a:p>
      </dgm:t>
    </dgm:pt>
    <dgm:pt modelId="{C0E1C95B-D68D-48EC-8210-6896829A2122}" type="sibTrans" cxnId="{841E4B3D-4B12-4B4F-BB83-4D868741CE10}">
      <dgm:prSet/>
      <dgm:spPr/>
      <dgm:t>
        <a:bodyPr/>
        <a:lstStyle/>
        <a:p>
          <a:endParaRPr lang="en-US" sz="1800"/>
        </a:p>
      </dgm:t>
    </dgm:pt>
    <dgm:pt modelId="{29030B2B-0F05-424C-9B54-580754059152}">
      <dgm:prSet custT="1"/>
      <dgm:spPr/>
      <dgm:t>
        <a:bodyPr/>
        <a:lstStyle/>
        <a:p>
          <a:pPr>
            <a:buFont typeface="Arial" panose="020B0604020202020204" pitchFamily="34" charset="0"/>
            <a:buChar char="•"/>
          </a:pPr>
          <a:r>
            <a:rPr lang="en-US" sz="1800" baseline="0"/>
            <a:t>Bracket Pair Colorizer</a:t>
          </a:r>
          <a:endParaRPr lang="en-US" sz="1800"/>
        </a:p>
      </dgm:t>
    </dgm:pt>
    <dgm:pt modelId="{80F1036F-010C-47C9-9613-559DC87985E5}" type="parTrans" cxnId="{3A6130DF-ED18-49CD-9623-18C7117EA771}">
      <dgm:prSet/>
      <dgm:spPr/>
      <dgm:t>
        <a:bodyPr/>
        <a:lstStyle/>
        <a:p>
          <a:endParaRPr lang="en-US" sz="1800"/>
        </a:p>
      </dgm:t>
    </dgm:pt>
    <dgm:pt modelId="{5520B87D-4998-43F3-9752-19E678D47D91}" type="sibTrans" cxnId="{3A6130DF-ED18-49CD-9623-18C7117EA771}">
      <dgm:prSet/>
      <dgm:spPr/>
      <dgm:t>
        <a:bodyPr/>
        <a:lstStyle/>
        <a:p>
          <a:endParaRPr lang="en-US" sz="1800"/>
        </a:p>
      </dgm:t>
    </dgm:pt>
    <dgm:pt modelId="{B940A8F7-189D-4EA4-92AD-9EB61AA0F6BA}">
      <dgm:prSet custT="1"/>
      <dgm:spPr/>
      <dgm:t>
        <a:bodyPr/>
        <a:lstStyle/>
        <a:p>
          <a:pPr>
            <a:buFont typeface="Arial" panose="020B0604020202020204" pitchFamily="34" charset="0"/>
            <a:buChar char="•"/>
          </a:pPr>
          <a:r>
            <a:rPr lang="en-US" sz="1800" baseline="0"/>
            <a:t>Indent-rainbow</a:t>
          </a:r>
          <a:endParaRPr lang="en-US" sz="1800"/>
        </a:p>
      </dgm:t>
    </dgm:pt>
    <dgm:pt modelId="{48248F26-CD1F-4F95-ABB1-93B6F0B9D4A6}" type="parTrans" cxnId="{E752A82C-D54A-4EC4-9AB6-A7C3B056997D}">
      <dgm:prSet/>
      <dgm:spPr/>
      <dgm:t>
        <a:bodyPr/>
        <a:lstStyle/>
        <a:p>
          <a:endParaRPr lang="en-US" sz="1800"/>
        </a:p>
      </dgm:t>
    </dgm:pt>
    <dgm:pt modelId="{37288D5B-8A1F-46C3-9482-2EF6F6FEBD68}" type="sibTrans" cxnId="{E752A82C-D54A-4EC4-9AB6-A7C3B056997D}">
      <dgm:prSet/>
      <dgm:spPr/>
      <dgm:t>
        <a:bodyPr/>
        <a:lstStyle/>
        <a:p>
          <a:endParaRPr lang="en-US" sz="1800"/>
        </a:p>
      </dgm:t>
    </dgm:pt>
    <dgm:pt modelId="{70E8B90A-9502-48A3-8321-13FCE06F3369}">
      <dgm:prSet custT="1"/>
      <dgm:spPr/>
      <dgm:t>
        <a:bodyPr/>
        <a:lstStyle/>
        <a:p>
          <a:r>
            <a:rPr lang="en-US" sz="1800" baseline="0"/>
            <a:t>Programming languages</a:t>
          </a:r>
          <a:endParaRPr lang="en-US" sz="1800"/>
        </a:p>
      </dgm:t>
    </dgm:pt>
    <dgm:pt modelId="{F5D4FDB1-D2C0-4F9D-8921-38460CAC47D1}" type="parTrans" cxnId="{FE4BDA4D-714D-4F75-9DAF-6B299BC7F099}">
      <dgm:prSet/>
      <dgm:spPr/>
      <dgm:t>
        <a:bodyPr/>
        <a:lstStyle/>
        <a:p>
          <a:endParaRPr lang="en-US" sz="1800"/>
        </a:p>
      </dgm:t>
    </dgm:pt>
    <dgm:pt modelId="{DFD6DF32-9996-41A2-B7B9-526E56A447FA}" type="sibTrans" cxnId="{FE4BDA4D-714D-4F75-9DAF-6B299BC7F099}">
      <dgm:prSet/>
      <dgm:spPr/>
      <dgm:t>
        <a:bodyPr/>
        <a:lstStyle/>
        <a:p>
          <a:endParaRPr lang="en-US" sz="1800"/>
        </a:p>
      </dgm:t>
    </dgm:pt>
    <dgm:pt modelId="{589AE8C1-C642-4DCD-AF8C-2E0E4C48FC40}">
      <dgm:prSet custT="1"/>
      <dgm:spPr/>
      <dgm:t>
        <a:bodyPr/>
        <a:lstStyle/>
        <a:p>
          <a:r>
            <a:rPr lang="en-US" sz="1800" baseline="0"/>
            <a:t>PowerShell</a:t>
          </a:r>
          <a:endParaRPr lang="en-US" sz="1800"/>
        </a:p>
      </dgm:t>
    </dgm:pt>
    <dgm:pt modelId="{297EDFE3-49E2-4FB2-9CF3-5C2F777AF3F7}" type="parTrans" cxnId="{514F6EE9-75CD-4A15-B86F-2B23099109AB}">
      <dgm:prSet/>
      <dgm:spPr/>
      <dgm:t>
        <a:bodyPr/>
        <a:lstStyle/>
        <a:p>
          <a:endParaRPr lang="en-US" sz="1800"/>
        </a:p>
      </dgm:t>
    </dgm:pt>
    <dgm:pt modelId="{79D838BC-6726-4593-9283-92A4391C292C}" type="sibTrans" cxnId="{514F6EE9-75CD-4A15-B86F-2B23099109AB}">
      <dgm:prSet/>
      <dgm:spPr/>
      <dgm:t>
        <a:bodyPr/>
        <a:lstStyle/>
        <a:p>
          <a:endParaRPr lang="en-US" sz="1800"/>
        </a:p>
      </dgm:t>
    </dgm:pt>
    <dgm:pt modelId="{AA2644B0-B346-46F2-915B-18295FD38AE0}">
      <dgm:prSet custT="1"/>
      <dgm:spPr/>
      <dgm:t>
        <a:bodyPr/>
        <a:lstStyle/>
        <a:p>
          <a:r>
            <a:rPr lang="en-US" sz="1800" baseline="0"/>
            <a:t>Python</a:t>
          </a:r>
          <a:endParaRPr lang="en-US" sz="1800"/>
        </a:p>
      </dgm:t>
    </dgm:pt>
    <dgm:pt modelId="{2AF5B463-B8D1-441D-A867-B824E6D1A206}" type="parTrans" cxnId="{EC738E74-B21E-4801-9AB0-60FCA05505B1}">
      <dgm:prSet/>
      <dgm:spPr/>
      <dgm:t>
        <a:bodyPr/>
        <a:lstStyle/>
        <a:p>
          <a:endParaRPr lang="en-US" sz="1800"/>
        </a:p>
      </dgm:t>
    </dgm:pt>
    <dgm:pt modelId="{A173C442-88F2-486A-9BB6-BD6FE158A326}" type="sibTrans" cxnId="{EC738E74-B21E-4801-9AB0-60FCA05505B1}">
      <dgm:prSet/>
      <dgm:spPr/>
      <dgm:t>
        <a:bodyPr/>
        <a:lstStyle/>
        <a:p>
          <a:endParaRPr lang="en-US" sz="1800"/>
        </a:p>
      </dgm:t>
    </dgm:pt>
    <dgm:pt modelId="{F3550906-3E21-48C1-AADF-9DBAC4A364C9}">
      <dgm:prSet custT="1"/>
      <dgm:spPr/>
      <dgm:t>
        <a:bodyPr/>
        <a:lstStyle/>
        <a:p>
          <a:r>
            <a:rPr lang="en-US" sz="1800" baseline="0"/>
            <a:t>Collaboration Tools</a:t>
          </a:r>
          <a:endParaRPr lang="en-US" sz="1800"/>
        </a:p>
      </dgm:t>
    </dgm:pt>
    <dgm:pt modelId="{F2B394CE-E29E-49F7-B22D-F0A5B89497D6}" type="parTrans" cxnId="{6742CACE-902E-46F0-9EB0-2E4E1B05D459}">
      <dgm:prSet/>
      <dgm:spPr/>
      <dgm:t>
        <a:bodyPr/>
        <a:lstStyle/>
        <a:p>
          <a:endParaRPr lang="en-US" sz="1800"/>
        </a:p>
      </dgm:t>
    </dgm:pt>
    <dgm:pt modelId="{E4471B6B-593C-4875-A9E8-797139DC1BB1}" type="sibTrans" cxnId="{6742CACE-902E-46F0-9EB0-2E4E1B05D459}">
      <dgm:prSet/>
      <dgm:spPr/>
      <dgm:t>
        <a:bodyPr/>
        <a:lstStyle/>
        <a:p>
          <a:endParaRPr lang="en-US" sz="1800"/>
        </a:p>
      </dgm:t>
    </dgm:pt>
    <dgm:pt modelId="{78FB0E18-5079-4429-A3E1-2020E1F5F6C5}">
      <dgm:prSet custT="1"/>
      <dgm:spPr/>
      <dgm:t>
        <a:bodyPr/>
        <a:lstStyle/>
        <a:p>
          <a:r>
            <a:rPr lang="en-US" sz="1800" baseline="0"/>
            <a:t>Live Share</a:t>
          </a:r>
          <a:endParaRPr lang="en-US" sz="1800"/>
        </a:p>
      </dgm:t>
    </dgm:pt>
    <dgm:pt modelId="{35720A7D-5196-49B6-B938-0CCE64D6BF12}" type="parTrans" cxnId="{B0ED5694-D899-40FA-B5DB-1259B0BD48F9}">
      <dgm:prSet/>
      <dgm:spPr/>
      <dgm:t>
        <a:bodyPr/>
        <a:lstStyle/>
        <a:p>
          <a:endParaRPr lang="en-US" sz="1800"/>
        </a:p>
      </dgm:t>
    </dgm:pt>
    <dgm:pt modelId="{4E0AED7E-6EC6-4F88-BF22-B275F2497CCF}" type="sibTrans" cxnId="{B0ED5694-D899-40FA-B5DB-1259B0BD48F9}">
      <dgm:prSet/>
      <dgm:spPr/>
      <dgm:t>
        <a:bodyPr/>
        <a:lstStyle/>
        <a:p>
          <a:endParaRPr lang="en-US" sz="1800"/>
        </a:p>
      </dgm:t>
    </dgm:pt>
    <dgm:pt modelId="{D2B179C6-4E96-4126-BE9B-BF28266CAAD7}">
      <dgm:prSet custT="1"/>
      <dgm:spPr/>
      <dgm:t>
        <a:bodyPr/>
        <a:lstStyle/>
        <a:p>
          <a:r>
            <a:rPr lang="en-US" sz="1800" baseline="0"/>
            <a:t>Keymaps - Hotkeys</a:t>
          </a:r>
          <a:endParaRPr lang="en-US" sz="1800"/>
        </a:p>
      </dgm:t>
    </dgm:pt>
    <dgm:pt modelId="{97BE1E10-65EB-434D-87F4-CDA46ECB0A3A}" type="parTrans" cxnId="{7C03E915-3F84-4651-A36F-BF2C444C0D66}">
      <dgm:prSet/>
      <dgm:spPr/>
      <dgm:t>
        <a:bodyPr/>
        <a:lstStyle/>
        <a:p>
          <a:endParaRPr lang="en-US" sz="1800"/>
        </a:p>
      </dgm:t>
    </dgm:pt>
    <dgm:pt modelId="{5D6BD519-A045-48F2-B860-6D3E77353AEA}" type="sibTrans" cxnId="{7C03E915-3F84-4651-A36F-BF2C444C0D66}">
      <dgm:prSet/>
      <dgm:spPr/>
      <dgm:t>
        <a:bodyPr/>
        <a:lstStyle/>
        <a:p>
          <a:endParaRPr lang="en-US" sz="1800"/>
        </a:p>
      </dgm:t>
    </dgm:pt>
    <dgm:pt modelId="{44710EEF-87E3-4DC9-8643-8832315D7DB3}">
      <dgm:prSet custT="1"/>
      <dgm:spPr/>
      <dgm:t>
        <a:bodyPr/>
        <a:lstStyle/>
        <a:p>
          <a:r>
            <a:rPr lang="en-US" sz="1800" baseline="0"/>
            <a:t>Vim</a:t>
          </a:r>
          <a:endParaRPr lang="en-US" sz="1800"/>
        </a:p>
      </dgm:t>
    </dgm:pt>
    <dgm:pt modelId="{C3A7E224-65CC-4B28-A825-2DEFEB470B83}" type="parTrans" cxnId="{D0754E8B-40C6-4C9D-AFB6-325DDD85A358}">
      <dgm:prSet/>
      <dgm:spPr/>
      <dgm:t>
        <a:bodyPr/>
        <a:lstStyle/>
        <a:p>
          <a:endParaRPr lang="en-US" sz="1800"/>
        </a:p>
      </dgm:t>
    </dgm:pt>
    <dgm:pt modelId="{F292468F-73EC-48DD-9B6A-616B89910231}" type="sibTrans" cxnId="{D0754E8B-40C6-4C9D-AFB6-325DDD85A358}">
      <dgm:prSet/>
      <dgm:spPr/>
      <dgm:t>
        <a:bodyPr/>
        <a:lstStyle/>
        <a:p>
          <a:endParaRPr lang="en-US" sz="1800"/>
        </a:p>
      </dgm:t>
    </dgm:pt>
    <dgm:pt modelId="{E75BB5B7-5312-449F-BAEC-D9723776FE1B}">
      <dgm:prSet custT="1"/>
      <dgm:spPr/>
      <dgm:t>
        <a:bodyPr/>
        <a:lstStyle/>
        <a:p>
          <a:r>
            <a:rPr lang="en-US" sz="1800" baseline="0"/>
            <a:t>Notepad++</a:t>
          </a:r>
          <a:endParaRPr lang="en-US" sz="1800"/>
        </a:p>
      </dgm:t>
    </dgm:pt>
    <dgm:pt modelId="{DE54D27C-7CF6-44A4-A8AA-43A01C571F7B}" type="parTrans" cxnId="{94AE46E5-3BDB-4D29-AD97-9346F288FB16}">
      <dgm:prSet/>
      <dgm:spPr/>
      <dgm:t>
        <a:bodyPr/>
        <a:lstStyle/>
        <a:p>
          <a:endParaRPr lang="en-US" sz="1800"/>
        </a:p>
      </dgm:t>
    </dgm:pt>
    <dgm:pt modelId="{059918CF-EBF6-4794-A73E-9B4981697194}" type="sibTrans" cxnId="{94AE46E5-3BDB-4D29-AD97-9346F288FB16}">
      <dgm:prSet/>
      <dgm:spPr/>
      <dgm:t>
        <a:bodyPr/>
        <a:lstStyle/>
        <a:p>
          <a:endParaRPr lang="en-US" sz="1800"/>
        </a:p>
      </dgm:t>
    </dgm:pt>
    <dgm:pt modelId="{525CB136-5B6D-4C2D-8C0E-AD28FB642A78}">
      <dgm:prSet custT="1"/>
      <dgm:spPr/>
      <dgm:t>
        <a:bodyPr/>
        <a:lstStyle/>
        <a:p>
          <a:r>
            <a:rPr lang="en-US" sz="1800" baseline="0"/>
            <a:t>Organization assistance</a:t>
          </a:r>
          <a:endParaRPr lang="en-US" sz="1800"/>
        </a:p>
      </dgm:t>
    </dgm:pt>
    <dgm:pt modelId="{4B6ADE32-D33E-4C06-834F-8549A2C55F4A}" type="parTrans" cxnId="{618EF3C2-F1C8-4601-A55C-460D6A8DAF7F}">
      <dgm:prSet/>
      <dgm:spPr/>
      <dgm:t>
        <a:bodyPr/>
        <a:lstStyle/>
        <a:p>
          <a:endParaRPr lang="en-US" sz="1800"/>
        </a:p>
      </dgm:t>
    </dgm:pt>
    <dgm:pt modelId="{AD57A131-ED31-46E1-947D-47DBD5A3F4A2}" type="sibTrans" cxnId="{618EF3C2-F1C8-4601-A55C-460D6A8DAF7F}">
      <dgm:prSet/>
      <dgm:spPr/>
      <dgm:t>
        <a:bodyPr/>
        <a:lstStyle/>
        <a:p>
          <a:endParaRPr lang="en-US" sz="1800"/>
        </a:p>
      </dgm:t>
    </dgm:pt>
    <dgm:pt modelId="{6DA737C0-8807-4646-A2F9-2624E019B0E3}">
      <dgm:prSet custT="1"/>
      <dgm:spPr/>
      <dgm:t>
        <a:bodyPr/>
        <a:lstStyle/>
        <a:p>
          <a:r>
            <a:rPr lang="en-US" sz="1800" baseline="0"/>
            <a:t>TODO Tree</a:t>
          </a:r>
          <a:endParaRPr lang="en-US" sz="1800"/>
        </a:p>
      </dgm:t>
    </dgm:pt>
    <dgm:pt modelId="{4BE9AB78-9976-42E0-A400-8E26DCCB8C5A}" type="parTrans" cxnId="{CFFF963A-F5F5-4F7E-A12E-E68EACBDE56C}">
      <dgm:prSet/>
      <dgm:spPr/>
      <dgm:t>
        <a:bodyPr/>
        <a:lstStyle/>
        <a:p>
          <a:endParaRPr lang="en-US" sz="1800"/>
        </a:p>
      </dgm:t>
    </dgm:pt>
    <dgm:pt modelId="{30EB3B9B-4D5A-4D7A-ADF3-B50C89A9595F}" type="sibTrans" cxnId="{CFFF963A-F5F5-4F7E-A12E-E68EACBDE56C}">
      <dgm:prSet/>
      <dgm:spPr/>
      <dgm:t>
        <a:bodyPr/>
        <a:lstStyle/>
        <a:p>
          <a:endParaRPr lang="en-US" sz="1800"/>
        </a:p>
      </dgm:t>
    </dgm:pt>
    <dgm:pt modelId="{F229BC24-ED4C-4790-8371-83AF0E4056EF}">
      <dgm:prSet custT="1"/>
      <dgm:spPr/>
      <dgm:t>
        <a:bodyPr/>
        <a:lstStyle/>
        <a:p>
          <a:r>
            <a:rPr lang="en-US" sz="1800" baseline="0"/>
            <a:t>Code Spell Checker</a:t>
          </a:r>
          <a:endParaRPr lang="en-US" sz="1800"/>
        </a:p>
      </dgm:t>
    </dgm:pt>
    <dgm:pt modelId="{5F7E5225-809D-428D-B874-A01927A616F9}" type="parTrans" cxnId="{EAFDCF7F-2219-4828-8DF6-ECCE593DBE9F}">
      <dgm:prSet/>
      <dgm:spPr/>
      <dgm:t>
        <a:bodyPr/>
        <a:lstStyle/>
        <a:p>
          <a:endParaRPr lang="en-US" sz="1800"/>
        </a:p>
      </dgm:t>
    </dgm:pt>
    <dgm:pt modelId="{E43B9A9C-8D47-4D6B-86AD-9F23343912C8}" type="sibTrans" cxnId="{EAFDCF7F-2219-4828-8DF6-ECCE593DBE9F}">
      <dgm:prSet/>
      <dgm:spPr/>
      <dgm:t>
        <a:bodyPr/>
        <a:lstStyle/>
        <a:p>
          <a:endParaRPr lang="en-US" sz="1800"/>
        </a:p>
      </dgm:t>
    </dgm:pt>
    <dgm:pt modelId="{D79F59B1-EA0C-4C5C-AFA6-AF81630D3779}">
      <dgm:prSet custT="1"/>
      <dgm:spPr/>
      <dgm:t>
        <a:bodyPr/>
        <a:lstStyle/>
        <a:p>
          <a:r>
            <a:rPr lang="en-US" sz="1800" baseline="0"/>
            <a:t>File viewers</a:t>
          </a:r>
          <a:endParaRPr lang="en-US" sz="1800"/>
        </a:p>
      </dgm:t>
    </dgm:pt>
    <dgm:pt modelId="{DBB347C9-5538-4F2C-8FF4-D033351C6951}" type="parTrans" cxnId="{ACF5E636-8149-4288-B4A8-3FF34AD100B6}">
      <dgm:prSet/>
      <dgm:spPr/>
      <dgm:t>
        <a:bodyPr/>
        <a:lstStyle/>
        <a:p>
          <a:endParaRPr lang="en-US" sz="1800"/>
        </a:p>
      </dgm:t>
    </dgm:pt>
    <dgm:pt modelId="{F4B3E919-5CCA-4E31-989F-30343631FD0F}" type="sibTrans" cxnId="{ACF5E636-8149-4288-B4A8-3FF34AD100B6}">
      <dgm:prSet/>
      <dgm:spPr/>
      <dgm:t>
        <a:bodyPr/>
        <a:lstStyle/>
        <a:p>
          <a:endParaRPr lang="en-US" sz="1800"/>
        </a:p>
      </dgm:t>
    </dgm:pt>
    <dgm:pt modelId="{8396BA5C-E9B4-4937-935D-941195ABE1BB}">
      <dgm:prSet custT="1"/>
      <dgm:spPr/>
      <dgm:t>
        <a:bodyPr/>
        <a:lstStyle/>
        <a:p>
          <a:r>
            <a:rPr lang="en-US" sz="1800" baseline="0"/>
            <a:t>Markdown</a:t>
          </a:r>
          <a:endParaRPr lang="en-US" sz="1800"/>
        </a:p>
      </dgm:t>
    </dgm:pt>
    <dgm:pt modelId="{35FBC5E9-773B-4C48-BE34-D6D7BE1A58EA}" type="parTrans" cxnId="{435C4884-04B0-4DB0-AA57-441EC8044F87}">
      <dgm:prSet/>
      <dgm:spPr/>
      <dgm:t>
        <a:bodyPr/>
        <a:lstStyle/>
        <a:p>
          <a:endParaRPr lang="en-US" sz="1800"/>
        </a:p>
      </dgm:t>
    </dgm:pt>
    <dgm:pt modelId="{B0B4E9D7-3494-4067-ABBD-13099D3ADE59}" type="sibTrans" cxnId="{435C4884-04B0-4DB0-AA57-441EC8044F87}">
      <dgm:prSet/>
      <dgm:spPr/>
      <dgm:t>
        <a:bodyPr/>
        <a:lstStyle/>
        <a:p>
          <a:endParaRPr lang="en-US" sz="1800"/>
        </a:p>
      </dgm:t>
    </dgm:pt>
    <dgm:pt modelId="{6631EC3D-4A27-406A-B9D5-4EEE85CBCDBF}">
      <dgm:prSet custT="1"/>
      <dgm:spPr/>
      <dgm:t>
        <a:bodyPr/>
        <a:lstStyle/>
        <a:p>
          <a:r>
            <a:rPr lang="en-US" sz="1800" baseline="0"/>
            <a:t>CSV</a:t>
          </a:r>
          <a:endParaRPr lang="en-US" sz="1800"/>
        </a:p>
      </dgm:t>
    </dgm:pt>
    <dgm:pt modelId="{BA7C90DC-482A-4841-AC6D-6051DE109E3F}" type="parTrans" cxnId="{C82ED2A8-5083-4C9E-819A-26D700BE58DB}">
      <dgm:prSet/>
      <dgm:spPr/>
      <dgm:t>
        <a:bodyPr/>
        <a:lstStyle/>
        <a:p>
          <a:endParaRPr lang="en-US" sz="1800"/>
        </a:p>
      </dgm:t>
    </dgm:pt>
    <dgm:pt modelId="{8E0FBE41-7B2C-47D0-9FC6-0DC0FF065DEA}" type="sibTrans" cxnId="{C82ED2A8-5083-4C9E-819A-26D700BE58DB}">
      <dgm:prSet/>
      <dgm:spPr/>
      <dgm:t>
        <a:bodyPr/>
        <a:lstStyle/>
        <a:p>
          <a:endParaRPr lang="en-US" sz="1800"/>
        </a:p>
      </dgm:t>
    </dgm:pt>
    <dgm:pt modelId="{5610B523-A31B-4E01-BC31-8C02DDF401F8}" type="pres">
      <dgm:prSet presAssocID="{8B8DE14D-DD8C-4CCD-91F2-037F5FF82C1A}" presName="Name0" presStyleCnt="0">
        <dgm:presLayoutVars>
          <dgm:dir/>
          <dgm:animLvl val="lvl"/>
          <dgm:resizeHandles val="exact"/>
        </dgm:presLayoutVars>
      </dgm:prSet>
      <dgm:spPr/>
    </dgm:pt>
    <dgm:pt modelId="{08B129B7-43C2-4237-A4A0-283BA33EAC8E}" type="pres">
      <dgm:prSet presAssocID="{0E351FDE-8D35-4CB5-9513-8C93B8B3E65F}" presName="linNode" presStyleCnt="0"/>
      <dgm:spPr/>
    </dgm:pt>
    <dgm:pt modelId="{159D4EED-757C-460C-88F3-98E49172007F}" type="pres">
      <dgm:prSet presAssocID="{0E351FDE-8D35-4CB5-9513-8C93B8B3E65F}" presName="parentText" presStyleLbl="node1" presStyleIdx="0" presStyleCnt="6">
        <dgm:presLayoutVars>
          <dgm:chMax val="1"/>
          <dgm:bulletEnabled val="1"/>
        </dgm:presLayoutVars>
      </dgm:prSet>
      <dgm:spPr/>
    </dgm:pt>
    <dgm:pt modelId="{114B8666-01B8-454F-8280-937B8D9B97F0}" type="pres">
      <dgm:prSet presAssocID="{0E351FDE-8D35-4CB5-9513-8C93B8B3E65F}" presName="descendantText" presStyleLbl="alignAccFollowNode1" presStyleIdx="0" presStyleCnt="6">
        <dgm:presLayoutVars>
          <dgm:bulletEnabled val="1"/>
        </dgm:presLayoutVars>
      </dgm:prSet>
      <dgm:spPr/>
    </dgm:pt>
    <dgm:pt modelId="{B1448267-ECC7-4958-BDF9-5F516851C008}" type="pres">
      <dgm:prSet presAssocID="{C0E1C95B-D68D-48EC-8210-6896829A2122}" presName="sp" presStyleCnt="0"/>
      <dgm:spPr/>
    </dgm:pt>
    <dgm:pt modelId="{70534A61-431B-4E9C-A5B9-961CA7ACFC2E}" type="pres">
      <dgm:prSet presAssocID="{70E8B90A-9502-48A3-8321-13FCE06F3369}" presName="linNode" presStyleCnt="0"/>
      <dgm:spPr/>
    </dgm:pt>
    <dgm:pt modelId="{45B44D01-FDCD-4302-BFB4-4A2A150525F6}" type="pres">
      <dgm:prSet presAssocID="{70E8B90A-9502-48A3-8321-13FCE06F3369}" presName="parentText" presStyleLbl="node1" presStyleIdx="1" presStyleCnt="6">
        <dgm:presLayoutVars>
          <dgm:chMax val="1"/>
          <dgm:bulletEnabled val="1"/>
        </dgm:presLayoutVars>
      </dgm:prSet>
      <dgm:spPr/>
    </dgm:pt>
    <dgm:pt modelId="{1DB441E4-892C-4ADC-88E3-54B348D00411}" type="pres">
      <dgm:prSet presAssocID="{70E8B90A-9502-48A3-8321-13FCE06F3369}" presName="descendantText" presStyleLbl="alignAccFollowNode1" presStyleIdx="1" presStyleCnt="6">
        <dgm:presLayoutVars>
          <dgm:bulletEnabled val="1"/>
        </dgm:presLayoutVars>
      </dgm:prSet>
      <dgm:spPr/>
    </dgm:pt>
    <dgm:pt modelId="{5346C71A-8C80-4536-B159-462768EC2CF1}" type="pres">
      <dgm:prSet presAssocID="{DFD6DF32-9996-41A2-B7B9-526E56A447FA}" presName="sp" presStyleCnt="0"/>
      <dgm:spPr/>
    </dgm:pt>
    <dgm:pt modelId="{DCB6E09F-F7F8-421B-9673-A106C1E01401}" type="pres">
      <dgm:prSet presAssocID="{F3550906-3E21-48C1-AADF-9DBAC4A364C9}" presName="linNode" presStyleCnt="0"/>
      <dgm:spPr/>
    </dgm:pt>
    <dgm:pt modelId="{5006C816-73D8-45BA-BA38-82C4A1B17ECE}" type="pres">
      <dgm:prSet presAssocID="{F3550906-3E21-48C1-AADF-9DBAC4A364C9}" presName="parentText" presStyleLbl="node1" presStyleIdx="2" presStyleCnt="6">
        <dgm:presLayoutVars>
          <dgm:chMax val="1"/>
          <dgm:bulletEnabled val="1"/>
        </dgm:presLayoutVars>
      </dgm:prSet>
      <dgm:spPr/>
    </dgm:pt>
    <dgm:pt modelId="{2851780F-FA22-4C7B-9CAA-CFADEE4693A6}" type="pres">
      <dgm:prSet presAssocID="{F3550906-3E21-48C1-AADF-9DBAC4A364C9}" presName="descendantText" presStyleLbl="alignAccFollowNode1" presStyleIdx="2" presStyleCnt="6">
        <dgm:presLayoutVars>
          <dgm:bulletEnabled val="1"/>
        </dgm:presLayoutVars>
      </dgm:prSet>
      <dgm:spPr/>
    </dgm:pt>
    <dgm:pt modelId="{34CEAFC3-82F5-4894-BC5A-5DF129AEE8C5}" type="pres">
      <dgm:prSet presAssocID="{E4471B6B-593C-4875-A9E8-797139DC1BB1}" presName="sp" presStyleCnt="0"/>
      <dgm:spPr/>
    </dgm:pt>
    <dgm:pt modelId="{05EDFC20-C4B5-44EF-99B4-93F89E05C589}" type="pres">
      <dgm:prSet presAssocID="{D2B179C6-4E96-4126-BE9B-BF28266CAAD7}" presName="linNode" presStyleCnt="0"/>
      <dgm:spPr/>
    </dgm:pt>
    <dgm:pt modelId="{5419842E-EC99-439C-BA29-37A5479C7283}" type="pres">
      <dgm:prSet presAssocID="{D2B179C6-4E96-4126-BE9B-BF28266CAAD7}" presName="parentText" presStyleLbl="node1" presStyleIdx="3" presStyleCnt="6">
        <dgm:presLayoutVars>
          <dgm:chMax val="1"/>
          <dgm:bulletEnabled val="1"/>
        </dgm:presLayoutVars>
      </dgm:prSet>
      <dgm:spPr/>
    </dgm:pt>
    <dgm:pt modelId="{39F1ADF5-25F3-42CA-9D8D-39C1E892C721}" type="pres">
      <dgm:prSet presAssocID="{D2B179C6-4E96-4126-BE9B-BF28266CAAD7}" presName="descendantText" presStyleLbl="alignAccFollowNode1" presStyleIdx="3" presStyleCnt="6">
        <dgm:presLayoutVars>
          <dgm:bulletEnabled val="1"/>
        </dgm:presLayoutVars>
      </dgm:prSet>
      <dgm:spPr/>
    </dgm:pt>
    <dgm:pt modelId="{BADACBFA-80FB-47B4-BC85-AED6BC08C472}" type="pres">
      <dgm:prSet presAssocID="{5D6BD519-A045-48F2-B860-6D3E77353AEA}" presName="sp" presStyleCnt="0"/>
      <dgm:spPr/>
    </dgm:pt>
    <dgm:pt modelId="{BAFCF23A-ADBD-42D8-8BF8-40BD9D698A23}" type="pres">
      <dgm:prSet presAssocID="{525CB136-5B6D-4C2D-8C0E-AD28FB642A78}" presName="linNode" presStyleCnt="0"/>
      <dgm:spPr/>
    </dgm:pt>
    <dgm:pt modelId="{DC066716-918A-4206-873D-51811C8A9045}" type="pres">
      <dgm:prSet presAssocID="{525CB136-5B6D-4C2D-8C0E-AD28FB642A78}" presName="parentText" presStyleLbl="node1" presStyleIdx="4" presStyleCnt="6">
        <dgm:presLayoutVars>
          <dgm:chMax val="1"/>
          <dgm:bulletEnabled val="1"/>
        </dgm:presLayoutVars>
      </dgm:prSet>
      <dgm:spPr/>
    </dgm:pt>
    <dgm:pt modelId="{F2FBF5F5-9D38-4BEA-9C19-99939BCDDA93}" type="pres">
      <dgm:prSet presAssocID="{525CB136-5B6D-4C2D-8C0E-AD28FB642A78}" presName="descendantText" presStyleLbl="alignAccFollowNode1" presStyleIdx="4" presStyleCnt="6">
        <dgm:presLayoutVars>
          <dgm:bulletEnabled val="1"/>
        </dgm:presLayoutVars>
      </dgm:prSet>
      <dgm:spPr/>
    </dgm:pt>
    <dgm:pt modelId="{A70B36BA-512F-4CE3-9D87-3B25BA286DE0}" type="pres">
      <dgm:prSet presAssocID="{AD57A131-ED31-46E1-947D-47DBD5A3F4A2}" presName="sp" presStyleCnt="0"/>
      <dgm:spPr/>
    </dgm:pt>
    <dgm:pt modelId="{E2449C69-3D23-49C6-8180-523A41DC1673}" type="pres">
      <dgm:prSet presAssocID="{D79F59B1-EA0C-4C5C-AFA6-AF81630D3779}" presName="linNode" presStyleCnt="0"/>
      <dgm:spPr/>
    </dgm:pt>
    <dgm:pt modelId="{8D8EA764-1455-4C9F-969D-3979E33D9675}" type="pres">
      <dgm:prSet presAssocID="{D79F59B1-EA0C-4C5C-AFA6-AF81630D3779}" presName="parentText" presStyleLbl="node1" presStyleIdx="5" presStyleCnt="6">
        <dgm:presLayoutVars>
          <dgm:chMax val="1"/>
          <dgm:bulletEnabled val="1"/>
        </dgm:presLayoutVars>
      </dgm:prSet>
      <dgm:spPr/>
    </dgm:pt>
    <dgm:pt modelId="{4CCCAE8F-6C22-4C88-A951-B9C6CDAEA9AD}" type="pres">
      <dgm:prSet presAssocID="{D79F59B1-EA0C-4C5C-AFA6-AF81630D3779}" presName="descendantText" presStyleLbl="alignAccFollowNode1" presStyleIdx="5" presStyleCnt="6">
        <dgm:presLayoutVars>
          <dgm:bulletEnabled val="1"/>
        </dgm:presLayoutVars>
      </dgm:prSet>
      <dgm:spPr/>
    </dgm:pt>
  </dgm:ptLst>
  <dgm:cxnLst>
    <dgm:cxn modelId="{18686C08-573A-4FA2-9081-6036D13691AB}" type="presOf" srcId="{8B8DE14D-DD8C-4CCD-91F2-037F5FF82C1A}" destId="{5610B523-A31B-4E01-BC31-8C02DDF401F8}" srcOrd="0" destOrd="0" presId="urn:microsoft.com/office/officeart/2005/8/layout/vList5"/>
    <dgm:cxn modelId="{9118250F-12BF-4DCC-97C1-402EA3655EA3}" type="presOf" srcId="{D2B179C6-4E96-4126-BE9B-BF28266CAAD7}" destId="{5419842E-EC99-439C-BA29-37A5479C7283}" srcOrd="0" destOrd="0" presId="urn:microsoft.com/office/officeart/2005/8/layout/vList5"/>
    <dgm:cxn modelId="{7C03E915-3F84-4651-A36F-BF2C444C0D66}" srcId="{8B8DE14D-DD8C-4CCD-91F2-037F5FF82C1A}" destId="{D2B179C6-4E96-4126-BE9B-BF28266CAAD7}" srcOrd="3" destOrd="0" parTransId="{97BE1E10-65EB-434D-87F4-CDA46ECB0A3A}" sibTransId="{5D6BD519-A045-48F2-B860-6D3E77353AEA}"/>
    <dgm:cxn modelId="{E0C4CD18-3305-4F6E-9DB8-CB44AB9A5427}" type="presOf" srcId="{29030B2B-0F05-424C-9B54-580754059152}" destId="{114B8666-01B8-454F-8280-937B8D9B97F0}" srcOrd="0" destOrd="0" presId="urn:microsoft.com/office/officeart/2005/8/layout/vList5"/>
    <dgm:cxn modelId="{58D6AA28-D9B4-45E6-8CD7-8CE853D1743B}" type="presOf" srcId="{589AE8C1-C642-4DCD-AF8C-2E0E4C48FC40}" destId="{1DB441E4-892C-4ADC-88E3-54B348D00411}" srcOrd="0" destOrd="0" presId="urn:microsoft.com/office/officeart/2005/8/layout/vList5"/>
    <dgm:cxn modelId="{E752A82C-D54A-4EC4-9AB6-A7C3B056997D}" srcId="{0E351FDE-8D35-4CB5-9513-8C93B8B3E65F}" destId="{B940A8F7-189D-4EA4-92AD-9EB61AA0F6BA}" srcOrd="1" destOrd="0" parTransId="{48248F26-CD1F-4F95-ABB1-93B6F0B9D4A6}" sibTransId="{37288D5B-8A1F-46C3-9482-2EF6F6FEBD68}"/>
    <dgm:cxn modelId="{ACF5E636-8149-4288-B4A8-3FF34AD100B6}" srcId="{8B8DE14D-DD8C-4CCD-91F2-037F5FF82C1A}" destId="{D79F59B1-EA0C-4C5C-AFA6-AF81630D3779}" srcOrd="5" destOrd="0" parTransId="{DBB347C9-5538-4F2C-8FF4-D033351C6951}" sibTransId="{F4B3E919-5CCA-4E31-989F-30343631FD0F}"/>
    <dgm:cxn modelId="{CFFF963A-F5F5-4F7E-A12E-E68EACBDE56C}" srcId="{525CB136-5B6D-4C2D-8C0E-AD28FB642A78}" destId="{6DA737C0-8807-4646-A2F9-2624E019B0E3}" srcOrd="0" destOrd="0" parTransId="{4BE9AB78-9976-42E0-A400-8E26DCCB8C5A}" sibTransId="{30EB3B9B-4D5A-4D7A-ADF3-B50C89A9595F}"/>
    <dgm:cxn modelId="{841E4B3D-4B12-4B4F-BB83-4D868741CE10}" srcId="{8B8DE14D-DD8C-4CCD-91F2-037F5FF82C1A}" destId="{0E351FDE-8D35-4CB5-9513-8C93B8B3E65F}" srcOrd="0" destOrd="0" parTransId="{FA4C650F-A654-4451-8BE2-C47834D9DF10}" sibTransId="{C0E1C95B-D68D-48EC-8210-6896829A2122}"/>
    <dgm:cxn modelId="{5030BA43-F3AF-4252-A6CE-B7300DC95B21}" type="presOf" srcId="{D79F59B1-EA0C-4C5C-AFA6-AF81630D3779}" destId="{8D8EA764-1455-4C9F-969D-3979E33D9675}" srcOrd="0" destOrd="0" presId="urn:microsoft.com/office/officeart/2005/8/layout/vList5"/>
    <dgm:cxn modelId="{5F1FC465-8F80-4E6B-9E2D-F98553C90909}" type="presOf" srcId="{6DA737C0-8807-4646-A2F9-2624E019B0E3}" destId="{F2FBF5F5-9D38-4BEA-9C19-99939BCDDA93}" srcOrd="0" destOrd="0" presId="urn:microsoft.com/office/officeart/2005/8/layout/vList5"/>
    <dgm:cxn modelId="{F0C0546B-53BC-4395-91BD-0D466F7D7F41}" type="presOf" srcId="{8396BA5C-E9B4-4937-935D-941195ABE1BB}" destId="{4CCCAE8F-6C22-4C88-A951-B9C6CDAEA9AD}" srcOrd="0" destOrd="0" presId="urn:microsoft.com/office/officeart/2005/8/layout/vList5"/>
    <dgm:cxn modelId="{FE4BDA4D-714D-4F75-9DAF-6B299BC7F099}" srcId="{8B8DE14D-DD8C-4CCD-91F2-037F5FF82C1A}" destId="{70E8B90A-9502-48A3-8321-13FCE06F3369}" srcOrd="1" destOrd="0" parTransId="{F5D4FDB1-D2C0-4F9D-8921-38460CAC47D1}" sibTransId="{DFD6DF32-9996-41A2-B7B9-526E56A447FA}"/>
    <dgm:cxn modelId="{8761666E-E9CA-4DBA-9C70-9773E6F806E2}" type="presOf" srcId="{F229BC24-ED4C-4790-8371-83AF0E4056EF}" destId="{F2FBF5F5-9D38-4BEA-9C19-99939BCDDA93}" srcOrd="0" destOrd="1" presId="urn:microsoft.com/office/officeart/2005/8/layout/vList5"/>
    <dgm:cxn modelId="{EC738E74-B21E-4801-9AB0-60FCA05505B1}" srcId="{70E8B90A-9502-48A3-8321-13FCE06F3369}" destId="{AA2644B0-B346-46F2-915B-18295FD38AE0}" srcOrd="1" destOrd="0" parTransId="{2AF5B463-B8D1-441D-A867-B824E6D1A206}" sibTransId="{A173C442-88F2-486A-9BB6-BD6FE158A326}"/>
    <dgm:cxn modelId="{3D270977-3683-450B-A786-F5B5A709C803}" type="presOf" srcId="{78FB0E18-5079-4429-A3E1-2020E1F5F6C5}" destId="{2851780F-FA22-4C7B-9CAA-CFADEE4693A6}" srcOrd="0" destOrd="0" presId="urn:microsoft.com/office/officeart/2005/8/layout/vList5"/>
    <dgm:cxn modelId="{58CE055A-4584-4780-98B0-B201A52AEFB1}" type="presOf" srcId="{B940A8F7-189D-4EA4-92AD-9EB61AA0F6BA}" destId="{114B8666-01B8-454F-8280-937B8D9B97F0}" srcOrd="0" destOrd="1" presId="urn:microsoft.com/office/officeart/2005/8/layout/vList5"/>
    <dgm:cxn modelId="{EAFDCF7F-2219-4828-8DF6-ECCE593DBE9F}" srcId="{525CB136-5B6D-4C2D-8C0E-AD28FB642A78}" destId="{F229BC24-ED4C-4790-8371-83AF0E4056EF}" srcOrd="1" destOrd="0" parTransId="{5F7E5225-809D-428D-B874-A01927A616F9}" sibTransId="{E43B9A9C-8D47-4D6B-86AD-9F23343912C8}"/>
    <dgm:cxn modelId="{93FBFF7F-AB92-467F-B2F5-2E2138D4D541}" type="presOf" srcId="{525CB136-5B6D-4C2D-8C0E-AD28FB642A78}" destId="{DC066716-918A-4206-873D-51811C8A9045}" srcOrd="0" destOrd="0" presId="urn:microsoft.com/office/officeart/2005/8/layout/vList5"/>
    <dgm:cxn modelId="{435C4884-04B0-4DB0-AA57-441EC8044F87}" srcId="{D79F59B1-EA0C-4C5C-AFA6-AF81630D3779}" destId="{8396BA5C-E9B4-4937-935D-941195ABE1BB}" srcOrd="0" destOrd="0" parTransId="{35FBC5E9-773B-4C48-BE34-D6D7BE1A58EA}" sibTransId="{B0B4E9D7-3494-4067-ABBD-13099D3ADE59}"/>
    <dgm:cxn modelId="{D0754E8B-40C6-4C9D-AFB6-325DDD85A358}" srcId="{D2B179C6-4E96-4126-BE9B-BF28266CAAD7}" destId="{44710EEF-87E3-4DC9-8643-8832315D7DB3}" srcOrd="0" destOrd="0" parTransId="{C3A7E224-65CC-4B28-A825-2DEFEB470B83}" sibTransId="{F292468F-73EC-48DD-9B6A-616B89910231}"/>
    <dgm:cxn modelId="{DFEBE58D-A795-4164-880C-9D74440C2070}" type="presOf" srcId="{70E8B90A-9502-48A3-8321-13FCE06F3369}" destId="{45B44D01-FDCD-4302-BFB4-4A2A150525F6}" srcOrd="0" destOrd="0" presId="urn:microsoft.com/office/officeart/2005/8/layout/vList5"/>
    <dgm:cxn modelId="{B0ED5694-D899-40FA-B5DB-1259B0BD48F9}" srcId="{F3550906-3E21-48C1-AADF-9DBAC4A364C9}" destId="{78FB0E18-5079-4429-A3E1-2020E1F5F6C5}" srcOrd="0" destOrd="0" parTransId="{35720A7D-5196-49B6-B938-0CCE64D6BF12}" sibTransId="{4E0AED7E-6EC6-4F88-BF22-B275F2497CCF}"/>
    <dgm:cxn modelId="{94CFAAA8-E87F-4422-97B5-D153DFBFCC47}" type="presOf" srcId="{6631EC3D-4A27-406A-B9D5-4EEE85CBCDBF}" destId="{4CCCAE8F-6C22-4C88-A951-B9C6CDAEA9AD}" srcOrd="0" destOrd="1" presId="urn:microsoft.com/office/officeart/2005/8/layout/vList5"/>
    <dgm:cxn modelId="{C82ED2A8-5083-4C9E-819A-26D700BE58DB}" srcId="{D79F59B1-EA0C-4C5C-AFA6-AF81630D3779}" destId="{6631EC3D-4A27-406A-B9D5-4EEE85CBCDBF}" srcOrd="1" destOrd="0" parTransId="{BA7C90DC-482A-4841-AC6D-6051DE109E3F}" sibTransId="{8E0FBE41-7B2C-47D0-9FC6-0DC0FF065DEA}"/>
    <dgm:cxn modelId="{7A22D0BB-478C-433C-91F1-C04219F89FFE}" type="presOf" srcId="{E75BB5B7-5312-449F-BAEC-D9723776FE1B}" destId="{39F1ADF5-25F3-42CA-9D8D-39C1E892C721}" srcOrd="0" destOrd="1" presId="urn:microsoft.com/office/officeart/2005/8/layout/vList5"/>
    <dgm:cxn modelId="{21FFA1BE-9D10-43E2-B799-A1D020C6BF6E}" type="presOf" srcId="{0E351FDE-8D35-4CB5-9513-8C93B8B3E65F}" destId="{159D4EED-757C-460C-88F3-98E49172007F}" srcOrd="0" destOrd="0" presId="urn:microsoft.com/office/officeart/2005/8/layout/vList5"/>
    <dgm:cxn modelId="{618EF3C2-F1C8-4601-A55C-460D6A8DAF7F}" srcId="{8B8DE14D-DD8C-4CCD-91F2-037F5FF82C1A}" destId="{525CB136-5B6D-4C2D-8C0E-AD28FB642A78}" srcOrd="4" destOrd="0" parTransId="{4B6ADE32-D33E-4C06-834F-8549A2C55F4A}" sibTransId="{AD57A131-ED31-46E1-947D-47DBD5A3F4A2}"/>
    <dgm:cxn modelId="{6742CACE-902E-46F0-9EB0-2E4E1B05D459}" srcId="{8B8DE14D-DD8C-4CCD-91F2-037F5FF82C1A}" destId="{F3550906-3E21-48C1-AADF-9DBAC4A364C9}" srcOrd="2" destOrd="0" parTransId="{F2B394CE-E29E-49F7-B22D-F0A5B89497D6}" sibTransId="{E4471B6B-593C-4875-A9E8-797139DC1BB1}"/>
    <dgm:cxn modelId="{8CF9D0DD-3D72-4029-AB8A-0CFDB6B0B681}" type="presOf" srcId="{AA2644B0-B346-46F2-915B-18295FD38AE0}" destId="{1DB441E4-892C-4ADC-88E3-54B348D00411}" srcOrd="0" destOrd="1" presId="urn:microsoft.com/office/officeart/2005/8/layout/vList5"/>
    <dgm:cxn modelId="{3A6130DF-ED18-49CD-9623-18C7117EA771}" srcId="{0E351FDE-8D35-4CB5-9513-8C93B8B3E65F}" destId="{29030B2B-0F05-424C-9B54-580754059152}" srcOrd="0" destOrd="0" parTransId="{80F1036F-010C-47C9-9613-559DC87985E5}" sibTransId="{5520B87D-4998-43F3-9752-19E678D47D91}"/>
    <dgm:cxn modelId="{992842E0-183A-45DC-B71D-1CCD4704AD58}" type="presOf" srcId="{44710EEF-87E3-4DC9-8643-8832315D7DB3}" destId="{39F1ADF5-25F3-42CA-9D8D-39C1E892C721}" srcOrd="0" destOrd="0" presId="urn:microsoft.com/office/officeart/2005/8/layout/vList5"/>
    <dgm:cxn modelId="{94AE46E5-3BDB-4D29-AD97-9346F288FB16}" srcId="{D2B179C6-4E96-4126-BE9B-BF28266CAAD7}" destId="{E75BB5B7-5312-449F-BAEC-D9723776FE1B}" srcOrd="1" destOrd="0" parTransId="{DE54D27C-7CF6-44A4-A8AA-43A01C571F7B}" sibTransId="{059918CF-EBF6-4794-A73E-9B4981697194}"/>
    <dgm:cxn modelId="{514F6EE9-75CD-4A15-B86F-2B23099109AB}" srcId="{70E8B90A-9502-48A3-8321-13FCE06F3369}" destId="{589AE8C1-C642-4DCD-AF8C-2E0E4C48FC40}" srcOrd="0" destOrd="0" parTransId="{297EDFE3-49E2-4FB2-9CF3-5C2F777AF3F7}" sibTransId="{79D838BC-6726-4593-9283-92A4391C292C}"/>
    <dgm:cxn modelId="{DE1F6FF7-0F7D-4C43-83E0-C36CB6C57723}" type="presOf" srcId="{F3550906-3E21-48C1-AADF-9DBAC4A364C9}" destId="{5006C816-73D8-45BA-BA38-82C4A1B17ECE}" srcOrd="0" destOrd="0" presId="urn:microsoft.com/office/officeart/2005/8/layout/vList5"/>
    <dgm:cxn modelId="{FA5A73F8-0C4A-4F96-BBCF-1256E0E3D4D2}" type="presParOf" srcId="{5610B523-A31B-4E01-BC31-8C02DDF401F8}" destId="{08B129B7-43C2-4237-A4A0-283BA33EAC8E}" srcOrd="0" destOrd="0" presId="urn:microsoft.com/office/officeart/2005/8/layout/vList5"/>
    <dgm:cxn modelId="{78CEA16C-5A11-4B39-9564-1C7316E541D1}" type="presParOf" srcId="{08B129B7-43C2-4237-A4A0-283BA33EAC8E}" destId="{159D4EED-757C-460C-88F3-98E49172007F}" srcOrd="0" destOrd="0" presId="urn:microsoft.com/office/officeart/2005/8/layout/vList5"/>
    <dgm:cxn modelId="{C0E09B69-0319-44E5-A972-35232019B123}" type="presParOf" srcId="{08B129B7-43C2-4237-A4A0-283BA33EAC8E}" destId="{114B8666-01B8-454F-8280-937B8D9B97F0}" srcOrd="1" destOrd="0" presId="urn:microsoft.com/office/officeart/2005/8/layout/vList5"/>
    <dgm:cxn modelId="{3E847489-53A9-4847-BE4B-3F517E5D851C}" type="presParOf" srcId="{5610B523-A31B-4E01-BC31-8C02DDF401F8}" destId="{B1448267-ECC7-4958-BDF9-5F516851C008}" srcOrd="1" destOrd="0" presId="urn:microsoft.com/office/officeart/2005/8/layout/vList5"/>
    <dgm:cxn modelId="{54AD816D-789D-4756-8993-6C1CA1045928}" type="presParOf" srcId="{5610B523-A31B-4E01-BC31-8C02DDF401F8}" destId="{70534A61-431B-4E9C-A5B9-961CA7ACFC2E}" srcOrd="2" destOrd="0" presId="urn:microsoft.com/office/officeart/2005/8/layout/vList5"/>
    <dgm:cxn modelId="{CA99129E-A78C-4DFA-BB50-9761F99F6F58}" type="presParOf" srcId="{70534A61-431B-4E9C-A5B9-961CA7ACFC2E}" destId="{45B44D01-FDCD-4302-BFB4-4A2A150525F6}" srcOrd="0" destOrd="0" presId="urn:microsoft.com/office/officeart/2005/8/layout/vList5"/>
    <dgm:cxn modelId="{6F894583-D0A0-4149-A805-2869767F82DE}" type="presParOf" srcId="{70534A61-431B-4E9C-A5B9-961CA7ACFC2E}" destId="{1DB441E4-892C-4ADC-88E3-54B348D00411}" srcOrd="1" destOrd="0" presId="urn:microsoft.com/office/officeart/2005/8/layout/vList5"/>
    <dgm:cxn modelId="{3E9E99FD-4E53-4393-ABD0-1719E06F27CF}" type="presParOf" srcId="{5610B523-A31B-4E01-BC31-8C02DDF401F8}" destId="{5346C71A-8C80-4536-B159-462768EC2CF1}" srcOrd="3" destOrd="0" presId="urn:microsoft.com/office/officeart/2005/8/layout/vList5"/>
    <dgm:cxn modelId="{518E020A-9811-4441-8871-A27644EBF8C7}" type="presParOf" srcId="{5610B523-A31B-4E01-BC31-8C02DDF401F8}" destId="{DCB6E09F-F7F8-421B-9673-A106C1E01401}" srcOrd="4" destOrd="0" presId="urn:microsoft.com/office/officeart/2005/8/layout/vList5"/>
    <dgm:cxn modelId="{E240ADDA-4635-4790-A80B-BDA94B26C621}" type="presParOf" srcId="{DCB6E09F-F7F8-421B-9673-A106C1E01401}" destId="{5006C816-73D8-45BA-BA38-82C4A1B17ECE}" srcOrd="0" destOrd="0" presId="urn:microsoft.com/office/officeart/2005/8/layout/vList5"/>
    <dgm:cxn modelId="{406E9D04-27BA-4F9E-97F4-4C3EB5BE8D98}" type="presParOf" srcId="{DCB6E09F-F7F8-421B-9673-A106C1E01401}" destId="{2851780F-FA22-4C7B-9CAA-CFADEE4693A6}" srcOrd="1" destOrd="0" presId="urn:microsoft.com/office/officeart/2005/8/layout/vList5"/>
    <dgm:cxn modelId="{01DAE7DC-F111-46AF-9918-ED90B744AEDF}" type="presParOf" srcId="{5610B523-A31B-4E01-BC31-8C02DDF401F8}" destId="{34CEAFC3-82F5-4894-BC5A-5DF129AEE8C5}" srcOrd="5" destOrd="0" presId="urn:microsoft.com/office/officeart/2005/8/layout/vList5"/>
    <dgm:cxn modelId="{4DBBAB9A-62AE-4654-B7CF-EA7B6B616648}" type="presParOf" srcId="{5610B523-A31B-4E01-BC31-8C02DDF401F8}" destId="{05EDFC20-C4B5-44EF-99B4-93F89E05C589}" srcOrd="6" destOrd="0" presId="urn:microsoft.com/office/officeart/2005/8/layout/vList5"/>
    <dgm:cxn modelId="{80F5098C-538A-4CAE-87AE-E34ADB97C326}" type="presParOf" srcId="{05EDFC20-C4B5-44EF-99B4-93F89E05C589}" destId="{5419842E-EC99-439C-BA29-37A5479C7283}" srcOrd="0" destOrd="0" presId="urn:microsoft.com/office/officeart/2005/8/layout/vList5"/>
    <dgm:cxn modelId="{4DB316CA-7E93-4D2B-AE0C-7335DFE39A2C}" type="presParOf" srcId="{05EDFC20-C4B5-44EF-99B4-93F89E05C589}" destId="{39F1ADF5-25F3-42CA-9D8D-39C1E892C721}" srcOrd="1" destOrd="0" presId="urn:microsoft.com/office/officeart/2005/8/layout/vList5"/>
    <dgm:cxn modelId="{8645CE99-0BB2-4829-A090-8CC69639CBE6}" type="presParOf" srcId="{5610B523-A31B-4E01-BC31-8C02DDF401F8}" destId="{BADACBFA-80FB-47B4-BC85-AED6BC08C472}" srcOrd="7" destOrd="0" presId="urn:microsoft.com/office/officeart/2005/8/layout/vList5"/>
    <dgm:cxn modelId="{17453E79-BBDA-4DD8-9A5A-22E9A2B67990}" type="presParOf" srcId="{5610B523-A31B-4E01-BC31-8C02DDF401F8}" destId="{BAFCF23A-ADBD-42D8-8BF8-40BD9D698A23}" srcOrd="8" destOrd="0" presId="urn:microsoft.com/office/officeart/2005/8/layout/vList5"/>
    <dgm:cxn modelId="{BFC005B8-F071-4343-82C7-5E88948F5A7F}" type="presParOf" srcId="{BAFCF23A-ADBD-42D8-8BF8-40BD9D698A23}" destId="{DC066716-918A-4206-873D-51811C8A9045}" srcOrd="0" destOrd="0" presId="urn:microsoft.com/office/officeart/2005/8/layout/vList5"/>
    <dgm:cxn modelId="{6A905F54-25C6-4242-B7E9-7EC3558B818F}" type="presParOf" srcId="{BAFCF23A-ADBD-42D8-8BF8-40BD9D698A23}" destId="{F2FBF5F5-9D38-4BEA-9C19-99939BCDDA93}" srcOrd="1" destOrd="0" presId="urn:microsoft.com/office/officeart/2005/8/layout/vList5"/>
    <dgm:cxn modelId="{DD2ACDC6-9793-4233-99BC-622ABA238096}" type="presParOf" srcId="{5610B523-A31B-4E01-BC31-8C02DDF401F8}" destId="{A70B36BA-512F-4CE3-9D87-3B25BA286DE0}" srcOrd="9" destOrd="0" presId="urn:microsoft.com/office/officeart/2005/8/layout/vList5"/>
    <dgm:cxn modelId="{930E28B3-25AC-48C0-B70B-65BD3CEAFE73}" type="presParOf" srcId="{5610B523-A31B-4E01-BC31-8C02DDF401F8}" destId="{E2449C69-3D23-49C6-8180-523A41DC1673}" srcOrd="10" destOrd="0" presId="urn:microsoft.com/office/officeart/2005/8/layout/vList5"/>
    <dgm:cxn modelId="{207DB369-A811-4806-A014-DE0E550989B5}" type="presParOf" srcId="{E2449C69-3D23-49C6-8180-523A41DC1673}" destId="{8D8EA764-1455-4C9F-969D-3979E33D9675}" srcOrd="0" destOrd="0" presId="urn:microsoft.com/office/officeart/2005/8/layout/vList5"/>
    <dgm:cxn modelId="{1786C93B-00EE-4825-BCB6-BB77075F8505}" type="presParOf" srcId="{E2449C69-3D23-49C6-8180-523A41DC1673}" destId="{4CCCAE8F-6C22-4C88-A951-B9C6CDAEA9A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DEE4181-1A50-4E49-A043-D3F130DBAC9C}" type="doc">
      <dgm:prSet loTypeId="urn:microsoft.com/office/officeart/2005/8/layout/radial6" loCatId="cycle" qsTypeId="urn:microsoft.com/office/officeart/2005/8/quickstyle/simple1" qsCatId="simple" csTypeId="urn:microsoft.com/office/officeart/2005/8/colors/colorful1" csCatId="colorful" phldr="1"/>
      <dgm:spPr/>
      <dgm:t>
        <a:bodyPr/>
        <a:lstStyle/>
        <a:p>
          <a:endParaRPr lang="en-US"/>
        </a:p>
      </dgm:t>
    </dgm:pt>
    <dgm:pt modelId="{DF1B82B2-7CAF-41B5-84C0-3BDA0506DBA2}">
      <dgm:prSet custT="1"/>
      <dgm:spPr/>
      <dgm:t>
        <a:bodyPr/>
        <a:lstStyle/>
        <a:p>
          <a:r>
            <a:rPr lang="en-US" sz="1800" baseline="0"/>
            <a:t>Plan</a:t>
          </a:r>
          <a:endParaRPr lang="en-US" sz="1800"/>
        </a:p>
      </dgm:t>
    </dgm:pt>
    <dgm:pt modelId="{55B9F141-3A88-45F1-9256-E1138F6B1F0D}" type="parTrans" cxnId="{7EE8038A-8701-435A-9F12-E418812BABE1}">
      <dgm:prSet/>
      <dgm:spPr/>
      <dgm:t>
        <a:bodyPr/>
        <a:lstStyle/>
        <a:p>
          <a:endParaRPr lang="en-US" sz="1800"/>
        </a:p>
      </dgm:t>
    </dgm:pt>
    <dgm:pt modelId="{54AA7905-D117-4C45-B401-8F0E85EFE4BC}" type="sibTrans" cxnId="{7EE8038A-8701-435A-9F12-E418812BABE1}">
      <dgm:prSet/>
      <dgm:spPr/>
      <dgm:t>
        <a:bodyPr/>
        <a:lstStyle/>
        <a:p>
          <a:endParaRPr lang="en-US" sz="1800"/>
        </a:p>
      </dgm:t>
    </dgm:pt>
    <dgm:pt modelId="{C01A6261-E38E-4399-8FCD-027762A929BD}">
      <dgm:prSet custT="1"/>
      <dgm:spPr/>
      <dgm:t>
        <a:bodyPr/>
        <a:lstStyle/>
        <a:p>
          <a:r>
            <a:rPr lang="en-US" sz="1800" baseline="0"/>
            <a:t>Build</a:t>
          </a:r>
          <a:endParaRPr lang="en-US" sz="1800"/>
        </a:p>
      </dgm:t>
    </dgm:pt>
    <dgm:pt modelId="{1BD374A2-286B-44A0-A5DB-9E5BB942A328}" type="parTrans" cxnId="{F19F01A2-565E-4CA3-9355-87F8F9900AA4}">
      <dgm:prSet/>
      <dgm:spPr/>
      <dgm:t>
        <a:bodyPr/>
        <a:lstStyle/>
        <a:p>
          <a:endParaRPr lang="en-US" sz="1800"/>
        </a:p>
      </dgm:t>
    </dgm:pt>
    <dgm:pt modelId="{BB510B02-825D-4AE4-A5F0-5633E8FBE9D3}" type="sibTrans" cxnId="{F19F01A2-565E-4CA3-9355-87F8F9900AA4}">
      <dgm:prSet/>
      <dgm:spPr/>
      <dgm:t>
        <a:bodyPr/>
        <a:lstStyle/>
        <a:p>
          <a:endParaRPr lang="en-US" sz="1800"/>
        </a:p>
      </dgm:t>
    </dgm:pt>
    <dgm:pt modelId="{F613CFC7-2265-4146-B170-B91B8A8DBE0F}">
      <dgm:prSet custT="1"/>
      <dgm:spPr/>
      <dgm:t>
        <a:bodyPr/>
        <a:lstStyle/>
        <a:p>
          <a:r>
            <a:rPr lang="en-US" sz="1800" baseline="0"/>
            <a:t>Deploy</a:t>
          </a:r>
          <a:endParaRPr lang="en-US" sz="1800"/>
        </a:p>
      </dgm:t>
    </dgm:pt>
    <dgm:pt modelId="{1AAA4F45-A5BF-4F15-AF32-05B09B037632}" type="parTrans" cxnId="{5B6C1BE7-259A-4FFA-9F9F-F7F8440AEA5C}">
      <dgm:prSet/>
      <dgm:spPr/>
      <dgm:t>
        <a:bodyPr/>
        <a:lstStyle/>
        <a:p>
          <a:endParaRPr lang="en-US" sz="1800"/>
        </a:p>
      </dgm:t>
    </dgm:pt>
    <dgm:pt modelId="{ABAB1EAA-D068-4CF7-BAC4-08E552DA3A0C}" type="sibTrans" cxnId="{5B6C1BE7-259A-4FFA-9F9F-F7F8440AEA5C}">
      <dgm:prSet/>
      <dgm:spPr/>
      <dgm:t>
        <a:bodyPr/>
        <a:lstStyle/>
        <a:p>
          <a:endParaRPr lang="en-US" sz="1800"/>
        </a:p>
      </dgm:t>
    </dgm:pt>
    <dgm:pt modelId="{44D97B5C-A5A1-43C4-A8AD-AB0E72C1C009}">
      <dgm:prSet custT="1"/>
      <dgm:spPr/>
      <dgm:t>
        <a:bodyPr/>
        <a:lstStyle/>
        <a:p>
          <a:r>
            <a:rPr lang="en-US" sz="1800" baseline="0"/>
            <a:t>Operate </a:t>
          </a:r>
          <a:endParaRPr lang="en-US" sz="1800"/>
        </a:p>
      </dgm:t>
    </dgm:pt>
    <dgm:pt modelId="{726C1836-35DB-4877-852C-96C938DC6548}" type="parTrans" cxnId="{D49A8AFB-185C-4045-8727-B1DEACD5E806}">
      <dgm:prSet/>
      <dgm:spPr/>
      <dgm:t>
        <a:bodyPr/>
        <a:lstStyle/>
        <a:p>
          <a:endParaRPr lang="en-US" sz="1800"/>
        </a:p>
      </dgm:t>
    </dgm:pt>
    <dgm:pt modelId="{6FE95FB8-A70C-401B-A30E-F3888BC7F381}" type="sibTrans" cxnId="{D49A8AFB-185C-4045-8727-B1DEACD5E806}">
      <dgm:prSet/>
      <dgm:spPr/>
      <dgm:t>
        <a:bodyPr/>
        <a:lstStyle/>
        <a:p>
          <a:endParaRPr lang="en-US" sz="1800"/>
        </a:p>
      </dgm:t>
    </dgm:pt>
    <dgm:pt modelId="{172FFB71-E27D-45E4-BC2F-7776A59103DC}">
      <dgm:prSet custT="1"/>
      <dgm:spPr>
        <a:solidFill>
          <a:schemeClr val="accent6">
            <a:lumMod val="50000"/>
          </a:schemeClr>
        </a:solidFill>
      </dgm:spPr>
      <dgm:t>
        <a:bodyPr/>
        <a:lstStyle/>
        <a:p>
          <a:r>
            <a:rPr lang="en-US" sz="1800" baseline="0"/>
            <a:t>Feedback</a:t>
          </a:r>
          <a:endParaRPr lang="en-US" sz="1800"/>
        </a:p>
      </dgm:t>
    </dgm:pt>
    <dgm:pt modelId="{72FE31C7-3F43-4BAE-8275-6E4362B4F0A9}" type="parTrans" cxnId="{BADBAE63-DE74-4932-899D-8A6605DA4648}">
      <dgm:prSet/>
      <dgm:spPr/>
      <dgm:t>
        <a:bodyPr/>
        <a:lstStyle/>
        <a:p>
          <a:endParaRPr lang="en-US" sz="1800"/>
        </a:p>
      </dgm:t>
    </dgm:pt>
    <dgm:pt modelId="{1A3BC7FB-5D6A-4885-8876-50DA99D82CFD}" type="sibTrans" cxnId="{BADBAE63-DE74-4932-899D-8A6605DA4648}">
      <dgm:prSet/>
      <dgm:spPr>
        <a:solidFill>
          <a:schemeClr val="accent6">
            <a:lumMod val="50000"/>
          </a:schemeClr>
        </a:solidFill>
      </dgm:spPr>
      <dgm:t>
        <a:bodyPr/>
        <a:lstStyle/>
        <a:p>
          <a:endParaRPr lang="en-US" sz="1800"/>
        </a:p>
      </dgm:t>
    </dgm:pt>
    <dgm:pt modelId="{3EE6C653-DD4B-48B7-8484-D55C84816710}">
      <dgm:prSet custT="1"/>
      <dgm:spPr/>
      <dgm:t>
        <a:bodyPr/>
        <a:lstStyle/>
        <a:p>
          <a:r>
            <a:rPr lang="en-US" sz="2000"/>
            <a:t>Continuous </a:t>
          </a:r>
          <a:r>
            <a:rPr lang="en-US" sz="2000" b="1"/>
            <a:t>Integration</a:t>
          </a:r>
          <a:br>
            <a:rPr lang="en-US" sz="2000"/>
          </a:br>
          <a:r>
            <a:rPr lang="en-US" sz="2000"/>
            <a:t>Continuous </a:t>
          </a:r>
          <a:r>
            <a:rPr lang="en-US" sz="2000" b="1"/>
            <a:t>Delivery</a:t>
          </a:r>
        </a:p>
      </dgm:t>
    </dgm:pt>
    <dgm:pt modelId="{4939228E-9021-40E2-B3CE-817D44E24B7B}" type="parTrans" cxnId="{594CD9BE-638A-4396-87B0-79320E3E1A8A}">
      <dgm:prSet/>
      <dgm:spPr/>
      <dgm:t>
        <a:bodyPr/>
        <a:lstStyle/>
        <a:p>
          <a:endParaRPr lang="en-US" sz="1800"/>
        </a:p>
      </dgm:t>
    </dgm:pt>
    <dgm:pt modelId="{7C6AD731-6C45-422C-A8D5-094920D40FCB}" type="sibTrans" cxnId="{594CD9BE-638A-4396-87B0-79320E3E1A8A}">
      <dgm:prSet/>
      <dgm:spPr/>
      <dgm:t>
        <a:bodyPr/>
        <a:lstStyle/>
        <a:p>
          <a:endParaRPr lang="en-US" sz="1800"/>
        </a:p>
      </dgm:t>
    </dgm:pt>
    <dgm:pt modelId="{F9047733-1229-4FEA-AC4F-66B9244F6296}" type="pres">
      <dgm:prSet presAssocID="{0DEE4181-1A50-4E49-A043-D3F130DBAC9C}" presName="Name0" presStyleCnt="0">
        <dgm:presLayoutVars>
          <dgm:chMax val="1"/>
          <dgm:dir/>
          <dgm:animLvl val="ctr"/>
          <dgm:resizeHandles val="exact"/>
        </dgm:presLayoutVars>
      </dgm:prSet>
      <dgm:spPr/>
    </dgm:pt>
    <dgm:pt modelId="{9529CE36-42D4-4C22-82E2-237355CCDE81}" type="pres">
      <dgm:prSet presAssocID="{3EE6C653-DD4B-48B7-8484-D55C84816710}" presName="centerShape" presStyleLbl="node0" presStyleIdx="0" presStyleCnt="1"/>
      <dgm:spPr/>
    </dgm:pt>
    <dgm:pt modelId="{45A28D22-8286-4CDB-B9FF-E5AFB446E623}" type="pres">
      <dgm:prSet presAssocID="{DF1B82B2-7CAF-41B5-84C0-3BDA0506DBA2}" presName="node" presStyleLbl="node1" presStyleIdx="0" presStyleCnt="5">
        <dgm:presLayoutVars>
          <dgm:bulletEnabled val="1"/>
        </dgm:presLayoutVars>
      </dgm:prSet>
      <dgm:spPr/>
    </dgm:pt>
    <dgm:pt modelId="{74274A74-9DD2-45F8-BBB0-014A0D2F3F95}" type="pres">
      <dgm:prSet presAssocID="{DF1B82B2-7CAF-41B5-84C0-3BDA0506DBA2}" presName="dummy" presStyleCnt="0"/>
      <dgm:spPr/>
    </dgm:pt>
    <dgm:pt modelId="{5E873BFF-B982-4CDC-B7A6-E9DD903F1C00}" type="pres">
      <dgm:prSet presAssocID="{54AA7905-D117-4C45-B401-8F0E85EFE4BC}" presName="sibTrans" presStyleLbl="sibTrans2D1" presStyleIdx="0" presStyleCnt="5"/>
      <dgm:spPr/>
    </dgm:pt>
    <dgm:pt modelId="{F2FCF180-D25E-4E7A-BE18-9DF6AEAA4AFC}" type="pres">
      <dgm:prSet presAssocID="{C01A6261-E38E-4399-8FCD-027762A929BD}" presName="node" presStyleLbl="node1" presStyleIdx="1" presStyleCnt="5">
        <dgm:presLayoutVars>
          <dgm:bulletEnabled val="1"/>
        </dgm:presLayoutVars>
      </dgm:prSet>
      <dgm:spPr/>
    </dgm:pt>
    <dgm:pt modelId="{9A9B1C6A-B086-4C77-9008-253D8664604D}" type="pres">
      <dgm:prSet presAssocID="{C01A6261-E38E-4399-8FCD-027762A929BD}" presName="dummy" presStyleCnt="0"/>
      <dgm:spPr/>
    </dgm:pt>
    <dgm:pt modelId="{75B35F19-4213-457E-8DBE-AFEDA82BA31E}" type="pres">
      <dgm:prSet presAssocID="{BB510B02-825D-4AE4-A5F0-5633E8FBE9D3}" presName="sibTrans" presStyleLbl="sibTrans2D1" presStyleIdx="1" presStyleCnt="5"/>
      <dgm:spPr/>
    </dgm:pt>
    <dgm:pt modelId="{9F31A8EC-2BD2-4D8C-B4CF-F7E1562BDC92}" type="pres">
      <dgm:prSet presAssocID="{F613CFC7-2265-4146-B170-B91B8A8DBE0F}" presName="node" presStyleLbl="node1" presStyleIdx="2" presStyleCnt="5">
        <dgm:presLayoutVars>
          <dgm:bulletEnabled val="1"/>
        </dgm:presLayoutVars>
      </dgm:prSet>
      <dgm:spPr/>
    </dgm:pt>
    <dgm:pt modelId="{CAB18714-EE0E-4105-8212-1988329C8EDD}" type="pres">
      <dgm:prSet presAssocID="{F613CFC7-2265-4146-B170-B91B8A8DBE0F}" presName="dummy" presStyleCnt="0"/>
      <dgm:spPr/>
    </dgm:pt>
    <dgm:pt modelId="{ECB160A6-07C1-45BF-91B0-8A88676DA998}" type="pres">
      <dgm:prSet presAssocID="{ABAB1EAA-D068-4CF7-BAC4-08E552DA3A0C}" presName="sibTrans" presStyleLbl="sibTrans2D1" presStyleIdx="2" presStyleCnt="5"/>
      <dgm:spPr/>
    </dgm:pt>
    <dgm:pt modelId="{BED609EA-9895-4650-90FA-EEEFA8DBA2A0}" type="pres">
      <dgm:prSet presAssocID="{44D97B5C-A5A1-43C4-A8AD-AB0E72C1C009}" presName="node" presStyleLbl="node1" presStyleIdx="3" presStyleCnt="5">
        <dgm:presLayoutVars>
          <dgm:bulletEnabled val="1"/>
        </dgm:presLayoutVars>
      </dgm:prSet>
      <dgm:spPr/>
    </dgm:pt>
    <dgm:pt modelId="{519FEE8A-29B8-4E70-90A5-CE354132D711}" type="pres">
      <dgm:prSet presAssocID="{44D97B5C-A5A1-43C4-A8AD-AB0E72C1C009}" presName="dummy" presStyleCnt="0"/>
      <dgm:spPr/>
    </dgm:pt>
    <dgm:pt modelId="{7B52DE82-BE9B-400E-97EA-E2FB38A72F03}" type="pres">
      <dgm:prSet presAssocID="{6FE95FB8-A70C-401B-A30E-F3888BC7F381}" presName="sibTrans" presStyleLbl="sibTrans2D1" presStyleIdx="3" presStyleCnt="5"/>
      <dgm:spPr/>
    </dgm:pt>
    <dgm:pt modelId="{CA95BBDA-C270-435A-9220-7F92FB6187D2}" type="pres">
      <dgm:prSet presAssocID="{172FFB71-E27D-45E4-BC2F-7776A59103DC}" presName="node" presStyleLbl="node1" presStyleIdx="4" presStyleCnt="5">
        <dgm:presLayoutVars>
          <dgm:bulletEnabled val="1"/>
        </dgm:presLayoutVars>
      </dgm:prSet>
      <dgm:spPr/>
    </dgm:pt>
    <dgm:pt modelId="{967D5163-37EE-41E1-9F95-2FED01770B35}" type="pres">
      <dgm:prSet presAssocID="{172FFB71-E27D-45E4-BC2F-7776A59103DC}" presName="dummy" presStyleCnt="0"/>
      <dgm:spPr/>
    </dgm:pt>
    <dgm:pt modelId="{B5C5B71E-7314-4F42-833D-D7FF520EA9B0}" type="pres">
      <dgm:prSet presAssocID="{1A3BC7FB-5D6A-4885-8876-50DA99D82CFD}" presName="sibTrans" presStyleLbl="sibTrans2D1" presStyleIdx="4" presStyleCnt="5"/>
      <dgm:spPr/>
    </dgm:pt>
  </dgm:ptLst>
  <dgm:cxnLst>
    <dgm:cxn modelId="{E5AA7304-2B87-474F-91DA-E123424B980F}" type="presOf" srcId="{BB510B02-825D-4AE4-A5F0-5633E8FBE9D3}" destId="{75B35F19-4213-457E-8DBE-AFEDA82BA31E}" srcOrd="0" destOrd="0" presId="urn:microsoft.com/office/officeart/2005/8/layout/radial6"/>
    <dgm:cxn modelId="{D2199D04-BD33-480A-AF14-CFAEBB357B9A}" type="presOf" srcId="{ABAB1EAA-D068-4CF7-BAC4-08E552DA3A0C}" destId="{ECB160A6-07C1-45BF-91B0-8A88676DA998}" srcOrd="0" destOrd="0" presId="urn:microsoft.com/office/officeart/2005/8/layout/radial6"/>
    <dgm:cxn modelId="{01168D0A-C874-4ACB-A81F-09598AAF5978}" type="presOf" srcId="{54AA7905-D117-4C45-B401-8F0E85EFE4BC}" destId="{5E873BFF-B982-4CDC-B7A6-E9DD903F1C00}" srcOrd="0" destOrd="0" presId="urn:microsoft.com/office/officeart/2005/8/layout/radial6"/>
    <dgm:cxn modelId="{BA6C8D14-11F9-47B5-B4B5-1657062B61ED}" type="presOf" srcId="{0DEE4181-1A50-4E49-A043-D3F130DBAC9C}" destId="{F9047733-1229-4FEA-AC4F-66B9244F6296}" srcOrd="0" destOrd="0" presId="urn:microsoft.com/office/officeart/2005/8/layout/radial6"/>
    <dgm:cxn modelId="{9DAE481A-A629-405E-907D-E5AC26769622}" type="presOf" srcId="{44D97B5C-A5A1-43C4-A8AD-AB0E72C1C009}" destId="{BED609EA-9895-4650-90FA-EEEFA8DBA2A0}" srcOrd="0" destOrd="0" presId="urn:microsoft.com/office/officeart/2005/8/layout/radial6"/>
    <dgm:cxn modelId="{4D539560-EDD4-4528-B1C4-2D865D39913C}" type="presOf" srcId="{C01A6261-E38E-4399-8FCD-027762A929BD}" destId="{F2FCF180-D25E-4E7A-BE18-9DF6AEAA4AFC}" srcOrd="0" destOrd="0" presId="urn:microsoft.com/office/officeart/2005/8/layout/radial6"/>
    <dgm:cxn modelId="{BADBAE63-DE74-4932-899D-8A6605DA4648}" srcId="{3EE6C653-DD4B-48B7-8484-D55C84816710}" destId="{172FFB71-E27D-45E4-BC2F-7776A59103DC}" srcOrd="4" destOrd="0" parTransId="{72FE31C7-3F43-4BAE-8275-6E4362B4F0A9}" sibTransId="{1A3BC7FB-5D6A-4885-8876-50DA99D82CFD}"/>
    <dgm:cxn modelId="{84222770-F709-46CD-A6E3-78F81D33283C}" type="presOf" srcId="{3EE6C653-DD4B-48B7-8484-D55C84816710}" destId="{9529CE36-42D4-4C22-82E2-237355CCDE81}" srcOrd="0" destOrd="0" presId="urn:microsoft.com/office/officeart/2005/8/layout/radial6"/>
    <dgm:cxn modelId="{F35C3755-5B1A-472D-8E6E-15D0976E3303}" type="presOf" srcId="{DF1B82B2-7CAF-41B5-84C0-3BDA0506DBA2}" destId="{45A28D22-8286-4CDB-B9FF-E5AFB446E623}" srcOrd="0" destOrd="0" presId="urn:microsoft.com/office/officeart/2005/8/layout/radial6"/>
    <dgm:cxn modelId="{7EE8038A-8701-435A-9F12-E418812BABE1}" srcId="{3EE6C653-DD4B-48B7-8484-D55C84816710}" destId="{DF1B82B2-7CAF-41B5-84C0-3BDA0506DBA2}" srcOrd="0" destOrd="0" parTransId="{55B9F141-3A88-45F1-9256-E1138F6B1F0D}" sibTransId="{54AA7905-D117-4C45-B401-8F0E85EFE4BC}"/>
    <dgm:cxn modelId="{1AEEC799-65E1-43BD-BD83-4B9E08AAEF45}" type="presOf" srcId="{172FFB71-E27D-45E4-BC2F-7776A59103DC}" destId="{CA95BBDA-C270-435A-9220-7F92FB6187D2}" srcOrd="0" destOrd="0" presId="urn:microsoft.com/office/officeart/2005/8/layout/radial6"/>
    <dgm:cxn modelId="{F19F01A2-565E-4CA3-9355-87F8F9900AA4}" srcId="{3EE6C653-DD4B-48B7-8484-D55C84816710}" destId="{C01A6261-E38E-4399-8FCD-027762A929BD}" srcOrd="1" destOrd="0" parTransId="{1BD374A2-286B-44A0-A5DB-9E5BB942A328}" sibTransId="{BB510B02-825D-4AE4-A5F0-5633E8FBE9D3}"/>
    <dgm:cxn modelId="{23676BB0-0CE1-452C-AE61-236FD6ABFD0F}" type="presOf" srcId="{1A3BC7FB-5D6A-4885-8876-50DA99D82CFD}" destId="{B5C5B71E-7314-4F42-833D-D7FF520EA9B0}" srcOrd="0" destOrd="0" presId="urn:microsoft.com/office/officeart/2005/8/layout/radial6"/>
    <dgm:cxn modelId="{594CD9BE-638A-4396-87B0-79320E3E1A8A}" srcId="{0DEE4181-1A50-4E49-A043-D3F130DBAC9C}" destId="{3EE6C653-DD4B-48B7-8484-D55C84816710}" srcOrd="0" destOrd="0" parTransId="{4939228E-9021-40E2-B3CE-817D44E24B7B}" sibTransId="{7C6AD731-6C45-422C-A8D5-094920D40FCB}"/>
    <dgm:cxn modelId="{6DCE3AD4-B3D9-4EB0-A4F3-8D01CD752429}" type="presOf" srcId="{6FE95FB8-A70C-401B-A30E-F3888BC7F381}" destId="{7B52DE82-BE9B-400E-97EA-E2FB38A72F03}" srcOrd="0" destOrd="0" presId="urn:microsoft.com/office/officeart/2005/8/layout/radial6"/>
    <dgm:cxn modelId="{A6E6AEDB-BCF4-4C67-AC63-B514CAA25818}" type="presOf" srcId="{F613CFC7-2265-4146-B170-B91B8A8DBE0F}" destId="{9F31A8EC-2BD2-4D8C-B4CF-F7E1562BDC92}" srcOrd="0" destOrd="0" presId="urn:microsoft.com/office/officeart/2005/8/layout/radial6"/>
    <dgm:cxn modelId="{5B6C1BE7-259A-4FFA-9F9F-F7F8440AEA5C}" srcId="{3EE6C653-DD4B-48B7-8484-D55C84816710}" destId="{F613CFC7-2265-4146-B170-B91B8A8DBE0F}" srcOrd="2" destOrd="0" parTransId="{1AAA4F45-A5BF-4F15-AF32-05B09B037632}" sibTransId="{ABAB1EAA-D068-4CF7-BAC4-08E552DA3A0C}"/>
    <dgm:cxn modelId="{D49A8AFB-185C-4045-8727-B1DEACD5E806}" srcId="{3EE6C653-DD4B-48B7-8484-D55C84816710}" destId="{44D97B5C-A5A1-43C4-A8AD-AB0E72C1C009}" srcOrd="3" destOrd="0" parTransId="{726C1836-35DB-4877-852C-96C938DC6548}" sibTransId="{6FE95FB8-A70C-401B-A30E-F3888BC7F381}"/>
    <dgm:cxn modelId="{1DF1DE7E-46A8-44AA-8920-B413A2E2FC88}" type="presParOf" srcId="{F9047733-1229-4FEA-AC4F-66B9244F6296}" destId="{9529CE36-42D4-4C22-82E2-237355CCDE81}" srcOrd="0" destOrd="0" presId="urn:microsoft.com/office/officeart/2005/8/layout/radial6"/>
    <dgm:cxn modelId="{3E485904-BE57-4254-B03F-5AC5F3ADCC85}" type="presParOf" srcId="{F9047733-1229-4FEA-AC4F-66B9244F6296}" destId="{45A28D22-8286-4CDB-B9FF-E5AFB446E623}" srcOrd="1" destOrd="0" presId="urn:microsoft.com/office/officeart/2005/8/layout/radial6"/>
    <dgm:cxn modelId="{C9643126-7B45-4716-B5D0-1CEDB0D20D85}" type="presParOf" srcId="{F9047733-1229-4FEA-AC4F-66B9244F6296}" destId="{74274A74-9DD2-45F8-BBB0-014A0D2F3F95}" srcOrd="2" destOrd="0" presId="urn:microsoft.com/office/officeart/2005/8/layout/radial6"/>
    <dgm:cxn modelId="{D5EB16F9-7608-44EF-B57E-C321814F8C28}" type="presParOf" srcId="{F9047733-1229-4FEA-AC4F-66B9244F6296}" destId="{5E873BFF-B982-4CDC-B7A6-E9DD903F1C00}" srcOrd="3" destOrd="0" presId="urn:microsoft.com/office/officeart/2005/8/layout/radial6"/>
    <dgm:cxn modelId="{7CEEE5A9-FC04-4529-9F3E-BD1808243F21}" type="presParOf" srcId="{F9047733-1229-4FEA-AC4F-66B9244F6296}" destId="{F2FCF180-D25E-4E7A-BE18-9DF6AEAA4AFC}" srcOrd="4" destOrd="0" presId="urn:microsoft.com/office/officeart/2005/8/layout/radial6"/>
    <dgm:cxn modelId="{87791CD4-DD33-4F95-91EF-B55145268634}" type="presParOf" srcId="{F9047733-1229-4FEA-AC4F-66B9244F6296}" destId="{9A9B1C6A-B086-4C77-9008-253D8664604D}" srcOrd="5" destOrd="0" presId="urn:microsoft.com/office/officeart/2005/8/layout/radial6"/>
    <dgm:cxn modelId="{FE112E5D-2907-4AE5-AE4C-79A84D8BE733}" type="presParOf" srcId="{F9047733-1229-4FEA-AC4F-66B9244F6296}" destId="{75B35F19-4213-457E-8DBE-AFEDA82BA31E}" srcOrd="6" destOrd="0" presId="urn:microsoft.com/office/officeart/2005/8/layout/radial6"/>
    <dgm:cxn modelId="{4D8EE719-0C0D-4288-9073-0EC30A1CF491}" type="presParOf" srcId="{F9047733-1229-4FEA-AC4F-66B9244F6296}" destId="{9F31A8EC-2BD2-4D8C-B4CF-F7E1562BDC92}" srcOrd="7" destOrd="0" presId="urn:microsoft.com/office/officeart/2005/8/layout/radial6"/>
    <dgm:cxn modelId="{03DD2463-8B58-4EE9-9CE1-CD49B3870646}" type="presParOf" srcId="{F9047733-1229-4FEA-AC4F-66B9244F6296}" destId="{CAB18714-EE0E-4105-8212-1988329C8EDD}" srcOrd="8" destOrd="0" presId="urn:microsoft.com/office/officeart/2005/8/layout/radial6"/>
    <dgm:cxn modelId="{BD9D8CD9-32F5-4E74-B2D3-5EB025852C70}" type="presParOf" srcId="{F9047733-1229-4FEA-AC4F-66B9244F6296}" destId="{ECB160A6-07C1-45BF-91B0-8A88676DA998}" srcOrd="9" destOrd="0" presId="urn:microsoft.com/office/officeart/2005/8/layout/radial6"/>
    <dgm:cxn modelId="{1AC69316-AF59-41D0-8CF7-D3A8CCB398BC}" type="presParOf" srcId="{F9047733-1229-4FEA-AC4F-66B9244F6296}" destId="{BED609EA-9895-4650-90FA-EEEFA8DBA2A0}" srcOrd="10" destOrd="0" presId="urn:microsoft.com/office/officeart/2005/8/layout/radial6"/>
    <dgm:cxn modelId="{61ACEDFD-BF4D-43C6-BB2D-A5F1E535CE4C}" type="presParOf" srcId="{F9047733-1229-4FEA-AC4F-66B9244F6296}" destId="{519FEE8A-29B8-4E70-90A5-CE354132D711}" srcOrd="11" destOrd="0" presId="urn:microsoft.com/office/officeart/2005/8/layout/radial6"/>
    <dgm:cxn modelId="{1A823513-B455-4802-861C-89B20E674A81}" type="presParOf" srcId="{F9047733-1229-4FEA-AC4F-66B9244F6296}" destId="{7B52DE82-BE9B-400E-97EA-E2FB38A72F03}" srcOrd="12" destOrd="0" presId="urn:microsoft.com/office/officeart/2005/8/layout/radial6"/>
    <dgm:cxn modelId="{265BFDF5-FA90-44FC-8B85-0EC4793CF9AB}" type="presParOf" srcId="{F9047733-1229-4FEA-AC4F-66B9244F6296}" destId="{CA95BBDA-C270-435A-9220-7F92FB6187D2}" srcOrd="13" destOrd="0" presId="urn:microsoft.com/office/officeart/2005/8/layout/radial6"/>
    <dgm:cxn modelId="{0C745FB9-5F3D-4E3B-AEBE-A58BFCD0FB39}" type="presParOf" srcId="{F9047733-1229-4FEA-AC4F-66B9244F6296}" destId="{967D5163-37EE-41E1-9F95-2FED01770B35}" srcOrd="14" destOrd="0" presId="urn:microsoft.com/office/officeart/2005/8/layout/radial6"/>
    <dgm:cxn modelId="{A8191945-2AC4-4391-8B82-460B327E46D6}" type="presParOf" srcId="{F9047733-1229-4FEA-AC4F-66B9244F6296}" destId="{B5C5B71E-7314-4F42-833D-D7FF520EA9B0}" srcOrd="15" destOrd="0" presId="urn:microsoft.com/office/officeart/2005/8/layout/radial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F7E6B8-7C4B-4279-95D4-9383466F1FDE}"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093A8235-41FD-442E-8720-65CB4826B6E7}">
      <dgm:prSet custT="1"/>
      <dgm:spPr/>
      <dgm:t>
        <a:bodyPr/>
        <a:lstStyle/>
        <a:p>
          <a:r>
            <a:rPr lang="en-US" sz="2400" b="1" baseline="0"/>
            <a:t>Distributed</a:t>
          </a:r>
          <a:r>
            <a:rPr lang="en-US" sz="2400" baseline="0"/>
            <a:t> version control system</a:t>
          </a:r>
          <a:endParaRPr lang="en-US" sz="2400"/>
        </a:p>
      </dgm:t>
    </dgm:pt>
    <dgm:pt modelId="{875DE5E9-1A00-45C0-BDAF-8A92EC02DFD9}" type="parTrans" cxnId="{B7A8130D-62C2-48B3-B381-63CB5E7F8AB9}">
      <dgm:prSet/>
      <dgm:spPr/>
      <dgm:t>
        <a:bodyPr/>
        <a:lstStyle/>
        <a:p>
          <a:endParaRPr lang="en-US" sz="2400"/>
        </a:p>
      </dgm:t>
    </dgm:pt>
    <dgm:pt modelId="{2E038FD2-1557-4D8E-972C-9E01A1D8F511}" type="sibTrans" cxnId="{B7A8130D-62C2-48B3-B381-63CB5E7F8AB9}">
      <dgm:prSet/>
      <dgm:spPr/>
      <dgm:t>
        <a:bodyPr/>
        <a:lstStyle/>
        <a:p>
          <a:endParaRPr lang="en-US" sz="2400"/>
        </a:p>
      </dgm:t>
    </dgm:pt>
    <dgm:pt modelId="{E24BD280-8CA8-4B3A-A041-E050226CDCC5}">
      <dgm:prSet custT="1"/>
      <dgm:spPr/>
      <dgm:t>
        <a:bodyPr/>
        <a:lstStyle/>
        <a:p>
          <a:r>
            <a:rPr lang="en-US" sz="2400" b="1" baseline="0"/>
            <a:t>Lightweight</a:t>
          </a:r>
          <a:r>
            <a:rPr lang="en-US" sz="2400" baseline="0"/>
            <a:t> and fast</a:t>
          </a:r>
          <a:endParaRPr lang="en-US" sz="2400"/>
        </a:p>
      </dgm:t>
    </dgm:pt>
    <dgm:pt modelId="{5305FCD5-5857-45F6-9AF8-7A8498F83F82}" type="parTrans" cxnId="{18F8B285-597F-4359-B91B-96978F33DF08}">
      <dgm:prSet/>
      <dgm:spPr/>
      <dgm:t>
        <a:bodyPr/>
        <a:lstStyle/>
        <a:p>
          <a:endParaRPr lang="en-US" sz="2400"/>
        </a:p>
      </dgm:t>
    </dgm:pt>
    <dgm:pt modelId="{F5D5A058-DC33-4A8E-A342-01E939A5BD73}" type="sibTrans" cxnId="{18F8B285-597F-4359-B91B-96978F33DF08}">
      <dgm:prSet/>
      <dgm:spPr/>
      <dgm:t>
        <a:bodyPr/>
        <a:lstStyle/>
        <a:p>
          <a:endParaRPr lang="en-US" sz="2400"/>
        </a:p>
      </dgm:t>
    </dgm:pt>
    <dgm:pt modelId="{CE8681C9-C766-4A54-B5BD-53AD06DFE27B}">
      <dgm:prSet custT="1"/>
      <dgm:spPr/>
      <dgm:t>
        <a:bodyPr/>
        <a:lstStyle/>
        <a:p>
          <a:r>
            <a:rPr lang="en-US" sz="2400" b="1" baseline="0"/>
            <a:t>Open</a:t>
          </a:r>
          <a:r>
            <a:rPr lang="en-US" sz="2400" baseline="0"/>
            <a:t> Source</a:t>
          </a:r>
          <a:endParaRPr lang="en-US" sz="2400"/>
        </a:p>
      </dgm:t>
    </dgm:pt>
    <dgm:pt modelId="{3066851B-EBB8-4BEB-8C43-2123D6349772}" type="parTrans" cxnId="{1F690A3D-8D2F-45E9-B228-C744060C8523}">
      <dgm:prSet/>
      <dgm:spPr/>
      <dgm:t>
        <a:bodyPr/>
        <a:lstStyle/>
        <a:p>
          <a:endParaRPr lang="en-US" sz="2400"/>
        </a:p>
      </dgm:t>
    </dgm:pt>
    <dgm:pt modelId="{E548D48F-1C5C-48B4-9EAF-575D45910F08}" type="sibTrans" cxnId="{1F690A3D-8D2F-45E9-B228-C744060C8523}">
      <dgm:prSet/>
      <dgm:spPr/>
      <dgm:t>
        <a:bodyPr/>
        <a:lstStyle/>
        <a:p>
          <a:endParaRPr lang="en-US" sz="2400"/>
        </a:p>
      </dgm:t>
    </dgm:pt>
    <dgm:pt modelId="{D89081D7-E158-4F5A-B300-56F92BFD3F23}">
      <dgm:prSet custT="1"/>
      <dgm:spPr/>
      <dgm:t>
        <a:bodyPr/>
        <a:lstStyle/>
        <a:p>
          <a:r>
            <a:rPr lang="en-US" sz="2400" baseline="0"/>
            <a:t>Supports parallel development (</a:t>
          </a:r>
          <a:r>
            <a:rPr lang="en-US" sz="2400" b="1" baseline="0"/>
            <a:t>branching</a:t>
          </a:r>
          <a:r>
            <a:rPr lang="en-US" sz="2400" baseline="0"/>
            <a:t>)</a:t>
          </a:r>
          <a:endParaRPr lang="en-US" sz="2400"/>
        </a:p>
      </dgm:t>
    </dgm:pt>
    <dgm:pt modelId="{923E2B4D-3C12-4079-A507-31252CD43209}" type="parTrans" cxnId="{37165D87-B3CA-4019-95F7-E57049180508}">
      <dgm:prSet/>
      <dgm:spPr/>
      <dgm:t>
        <a:bodyPr/>
        <a:lstStyle/>
        <a:p>
          <a:endParaRPr lang="en-US" sz="2400"/>
        </a:p>
      </dgm:t>
    </dgm:pt>
    <dgm:pt modelId="{D90BEFB8-947E-4BB6-83EE-90F2DC9E027B}" type="sibTrans" cxnId="{37165D87-B3CA-4019-95F7-E57049180508}">
      <dgm:prSet/>
      <dgm:spPr/>
      <dgm:t>
        <a:bodyPr/>
        <a:lstStyle/>
        <a:p>
          <a:endParaRPr lang="en-US" sz="2400"/>
        </a:p>
      </dgm:t>
    </dgm:pt>
    <dgm:pt modelId="{01721BDD-46AD-475D-AA4F-43BB8306CF79}" type="pres">
      <dgm:prSet presAssocID="{9DF7E6B8-7C4B-4279-95D4-9383466F1FDE}" presName="Name0" presStyleCnt="0">
        <dgm:presLayoutVars>
          <dgm:dir/>
          <dgm:resizeHandles val="exact"/>
        </dgm:presLayoutVars>
      </dgm:prSet>
      <dgm:spPr/>
    </dgm:pt>
    <dgm:pt modelId="{53C8913D-9670-48FF-B6AF-B4329CA5FFD6}" type="pres">
      <dgm:prSet presAssocID="{093A8235-41FD-442E-8720-65CB4826B6E7}" presName="compNode" presStyleCnt="0"/>
      <dgm:spPr/>
    </dgm:pt>
    <dgm:pt modelId="{859701C3-ED44-419E-AF80-D4CF424931DC}" type="pres">
      <dgm:prSet presAssocID="{093A8235-41FD-442E-8720-65CB4826B6E7}" presName="pictRect" presStyleLbl="node1" presStyleIdx="0" presStyleCnt="4"/>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Connections with solid fill"/>
        </a:ext>
      </dgm:extLst>
    </dgm:pt>
    <dgm:pt modelId="{7195E507-6C04-404F-89BC-7E462D5D7D5E}" type="pres">
      <dgm:prSet presAssocID="{093A8235-41FD-442E-8720-65CB4826B6E7}" presName="textRect" presStyleLbl="revTx" presStyleIdx="0" presStyleCnt="4">
        <dgm:presLayoutVars>
          <dgm:bulletEnabled val="1"/>
        </dgm:presLayoutVars>
      </dgm:prSet>
      <dgm:spPr/>
    </dgm:pt>
    <dgm:pt modelId="{A8423F62-9B39-44F3-B80B-C79509A2EA10}" type="pres">
      <dgm:prSet presAssocID="{2E038FD2-1557-4D8E-972C-9E01A1D8F511}" presName="sibTrans" presStyleLbl="sibTrans2D1" presStyleIdx="0" presStyleCnt="0"/>
      <dgm:spPr/>
    </dgm:pt>
    <dgm:pt modelId="{9D842E39-1570-4DAE-A43D-990CE27CA71B}" type="pres">
      <dgm:prSet presAssocID="{E24BD280-8CA8-4B3A-A041-E050226CDCC5}" presName="compNode" presStyleCnt="0"/>
      <dgm:spPr/>
    </dgm:pt>
    <dgm:pt modelId="{C55C9FCC-48B0-4E03-971B-C384C487D5B5}" type="pres">
      <dgm:prSet presAssocID="{E24BD280-8CA8-4B3A-A041-E050226CDCC5}" presName="pictRect" presStyleLbl="node1" presStyleIdx="1" presStyleCnt="4"/>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Rabbit with solid fill"/>
        </a:ext>
      </dgm:extLst>
    </dgm:pt>
    <dgm:pt modelId="{2632581E-6988-4A92-A4B9-8BE49A605628}" type="pres">
      <dgm:prSet presAssocID="{E24BD280-8CA8-4B3A-A041-E050226CDCC5}" presName="textRect" presStyleLbl="revTx" presStyleIdx="1" presStyleCnt="4">
        <dgm:presLayoutVars>
          <dgm:bulletEnabled val="1"/>
        </dgm:presLayoutVars>
      </dgm:prSet>
      <dgm:spPr/>
    </dgm:pt>
    <dgm:pt modelId="{89CEEE57-6549-490F-9A8E-72DD5C3111CE}" type="pres">
      <dgm:prSet presAssocID="{F5D5A058-DC33-4A8E-A342-01E939A5BD73}" presName="sibTrans" presStyleLbl="sibTrans2D1" presStyleIdx="0" presStyleCnt="0"/>
      <dgm:spPr/>
    </dgm:pt>
    <dgm:pt modelId="{780FCF7D-F660-46B3-B3EB-387438DE1FDD}" type="pres">
      <dgm:prSet presAssocID="{CE8681C9-C766-4A54-B5BD-53AD06DFE27B}" presName="compNode" presStyleCnt="0"/>
      <dgm:spPr/>
    </dgm:pt>
    <dgm:pt modelId="{9C31E3A5-2BD7-4A79-AC87-46BC1EB1BBDA}" type="pres">
      <dgm:prSet presAssocID="{CE8681C9-C766-4A54-B5BD-53AD06DFE27B}" presName="pictRect" presStyleLbl="node1" presStyleIdx="2" presStyleCnt="4"/>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Packing Box Open with solid fill"/>
        </a:ext>
      </dgm:extLst>
    </dgm:pt>
    <dgm:pt modelId="{E3CDCB22-B85E-4058-A301-D51B2C1DC613}" type="pres">
      <dgm:prSet presAssocID="{CE8681C9-C766-4A54-B5BD-53AD06DFE27B}" presName="textRect" presStyleLbl="revTx" presStyleIdx="2" presStyleCnt="4">
        <dgm:presLayoutVars>
          <dgm:bulletEnabled val="1"/>
        </dgm:presLayoutVars>
      </dgm:prSet>
      <dgm:spPr/>
    </dgm:pt>
    <dgm:pt modelId="{75A5FBB8-28D5-4123-BD5F-30AF8CE58C34}" type="pres">
      <dgm:prSet presAssocID="{E548D48F-1C5C-48B4-9EAF-575D45910F08}" presName="sibTrans" presStyleLbl="sibTrans2D1" presStyleIdx="0" presStyleCnt="0"/>
      <dgm:spPr/>
    </dgm:pt>
    <dgm:pt modelId="{8C6C00A4-8BFE-48E5-8DE1-177AA6CC7B23}" type="pres">
      <dgm:prSet presAssocID="{D89081D7-E158-4F5A-B300-56F92BFD3F23}" presName="compNode" presStyleCnt="0"/>
      <dgm:spPr/>
    </dgm:pt>
    <dgm:pt modelId="{F8B19172-A6C2-4406-873A-0394004B6E49}" type="pres">
      <dgm:prSet presAssocID="{D89081D7-E158-4F5A-B300-56F92BFD3F23}" presName="pictRect" presStyleLbl="node1" presStyleIdx="3" presStyleCnt="4"/>
      <dgm:spPr>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5550" r="15550"/>
          </a:stretch>
        </a:blipFill>
      </dgm:spPr>
      <dgm:extLst>
        <a:ext uri="{E40237B7-FDA0-4F09-8148-C483321AD2D9}">
          <dgm14:cNvPr xmlns:dgm14="http://schemas.microsoft.com/office/drawing/2010/diagram" id="0" name="" descr="Branching diagram with solid fill"/>
        </a:ext>
      </dgm:extLst>
    </dgm:pt>
    <dgm:pt modelId="{06A2120A-47D9-4B6D-85FF-A31274D3C04E}" type="pres">
      <dgm:prSet presAssocID="{D89081D7-E158-4F5A-B300-56F92BFD3F23}" presName="textRect" presStyleLbl="revTx" presStyleIdx="3" presStyleCnt="4">
        <dgm:presLayoutVars>
          <dgm:bulletEnabled val="1"/>
        </dgm:presLayoutVars>
      </dgm:prSet>
      <dgm:spPr/>
    </dgm:pt>
  </dgm:ptLst>
  <dgm:cxnLst>
    <dgm:cxn modelId="{B7A8130D-62C2-48B3-B381-63CB5E7F8AB9}" srcId="{9DF7E6B8-7C4B-4279-95D4-9383466F1FDE}" destId="{093A8235-41FD-442E-8720-65CB4826B6E7}" srcOrd="0" destOrd="0" parTransId="{875DE5E9-1A00-45C0-BDAF-8A92EC02DFD9}" sibTransId="{2E038FD2-1557-4D8E-972C-9E01A1D8F511}"/>
    <dgm:cxn modelId="{361B7713-7A76-4E9D-8A4B-AD4383F49154}" type="presOf" srcId="{2E038FD2-1557-4D8E-972C-9E01A1D8F511}" destId="{A8423F62-9B39-44F3-B80B-C79509A2EA10}" srcOrd="0" destOrd="0" presId="urn:microsoft.com/office/officeart/2005/8/layout/pList1"/>
    <dgm:cxn modelId="{374D1E3B-7E45-4786-B0F2-FE82031BA5B4}" type="presOf" srcId="{E548D48F-1C5C-48B4-9EAF-575D45910F08}" destId="{75A5FBB8-28D5-4123-BD5F-30AF8CE58C34}" srcOrd="0" destOrd="0" presId="urn:microsoft.com/office/officeart/2005/8/layout/pList1"/>
    <dgm:cxn modelId="{1F690A3D-8D2F-45E9-B228-C744060C8523}" srcId="{9DF7E6B8-7C4B-4279-95D4-9383466F1FDE}" destId="{CE8681C9-C766-4A54-B5BD-53AD06DFE27B}" srcOrd="2" destOrd="0" parTransId="{3066851B-EBB8-4BEB-8C43-2123D6349772}" sibTransId="{E548D48F-1C5C-48B4-9EAF-575D45910F08}"/>
    <dgm:cxn modelId="{18F8B285-597F-4359-B91B-96978F33DF08}" srcId="{9DF7E6B8-7C4B-4279-95D4-9383466F1FDE}" destId="{E24BD280-8CA8-4B3A-A041-E050226CDCC5}" srcOrd="1" destOrd="0" parTransId="{5305FCD5-5857-45F6-9AF8-7A8498F83F82}" sibTransId="{F5D5A058-DC33-4A8E-A342-01E939A5BD73}"/>
    <dgm:cxn modelId="{37165D87-B3CA-4019-95F7-E57049180508}" srcId="{9DF7E6B8-7C4B-4279-95D4-9383466F1FDE}" destId="{D89081D7-E158-4F5A-B300-56F92BFD3F23}" srcOrd="3" destOrd="0" parTransId="{923E2B4D-3C12-4079-A507-31252CD43209}" sibTransId="{D90BEFB8-947E-4BB6-83EE-90F2DC9E027B}"/>
    <dgm:cxn modelId="{345744AA-0B39-43BB-8CF7-F670F70B6F92}" type="presOf" srcId="{E24BD280-8CA8-4B3A-A041-E050226CDCC5}" destId="{2632581E-6988-4A92-A4B9-8BE49A605628}" srcOrd="0" destOrd="0" presId="urn:microsoft.com/office/officeart/2005/8/layout/pList1"/>
    <dgm:cxn modelId="{78CCDBC1-84DB-477E-8494-329369DB27AF}" type="presOf" srcId="{F5D5A058-DC33-4A8E-A342-01E939A5BD73}" destId="{89CEEE57-6549-490F-9A8E-72DD5C3111CE}" srcOrd="0" destOrd="0" presId="urn:microsoft.com/office/officeart/2005/8/layout/pList1"/>
    <dgm:cxn modelId="{AB4619C4-6450-4B00-82F0-50A8772FC7E5}" type="presOf" srcId="{093A8235-41FD-442E-8720-65CB4826B6E7}" destId="{7195E507-6C04-404F-89BC-7E462D5D7D5E}" srcOrd="0" destOrd="0" presId="urn:microsoft.com/office/officeart/2005/8/layout/pList1"/>
    <dgm:cxn modelId="{7EF379E1-719D-40DE-BE6C-ACECA63A71D4}" type="presOf" srcId="{D89081D7-E158-4F5A-B300-56F92BFD3F23}" destId="{06A2120A-47D9-4B6D-85FF-A31274D3C04E}" srcOrd="0" destOrd="0" presId="urn:microsoft.com/office/officeart/2005/8/layout/pList1"/>
    <dgm:cxn modelId="{09F2A4EB-9612-4544-9247-2610D6C569D8}" type="presOf" srcId="{CE8681C9-C766-4A54-B5BD-53AD06DFE27B}" destId="{E3CDCB22-B85E-4058-A301-D51B2C1DC613}" srcOrd="0" destOrd="0" presId="urn:microsoft.com/office/officeart/2005/8/layout/pList1"/>
    <dgm:cxn modelId="{AF919BF5-10EA-4562-9671-FF739D436FC2}" type="presOf" srcId="{9DF7E6B8-7C4B-4279-95D4-9383466F1FDE}" destId="{01721BDD-46AD-475D-AA4F-43BB8306CF79}" srcOrd="0" destOrd="0" presId="urn:microsoft.com/office/officeart/2005/8/layout/pList1"/>
    <dgm:cxn modelId="{2138A415-3761-4B0E-8D61-6D1D4BF09AA3}" type="presParOf" srcId="{01721BDD-46AD-475D-AA4F-43BB8306CF79}" destId="{53C8913D-9670-48FF-B6AF-B4329CA5FFD6}" srcOrd="0" destOrd="0" presId="urn:microsoft.com/office/officeart/2005/8/layout/pList1"/>
    <dgm:cxn modelId="{D3EFB330-B56E-4EAB-8AB4-6D0681D0D583}" type="presParOf" srcId="{53C8913D-9670-48FF-B6AF-B4329CA5FFD6}" destId="{859701C3-ED44-419E-AF80-D4CF424931DC}" srcOrd="0" destOrd="0" presId="urn:microsoft.com/office/officeart/2005/8/layout/pList1"/>
    <dgm:cxn modelId="{89C0CB24-42DF-4A9A-85F6-ABA7E8E4E25A}" type="presParOf" srcId="{53C8913D-9670-48FF-B6AF-B4329CA5FFD6}" destId="{7195E507-6C04-404F-89BC-7E462D5D7D5E}" srcOrd="1" destOrd="0" presId="urn:microsoft.com/office/officeart/2005/8/layout/pList1"/>
    <dgm:cxn modelId="{5D578DEB-FF4E-4111-9517-C1876C6DDF1A}" type="presParOf" srcId="{01721BDD-46AD-475D-AA4F-43BB8306CF79}" destId="{A8423F62-9B39-44F3-B80B-C79509A2EA10}" srcOrd="1" destOrd="0" presId="urn:microsoft.com/office/officeart/2005/8/layout/pList1"/>
    <dgm:cxn modelId="{4DEFAAF6-485B-45E0-ADA8-ED1CC947EB7C}" type="presParOf" srcId="{01721BDD-46AD-475D-AA4F-43BB8306CF79}" destId="{9D842E39-1570-4DAE-A43D-990CE27CA71B}" srcOrd="2" destOrd="0" presId="urn:microsoft.com/office/officeart/2005/8/layout/pList1"/>
    <dgm:cxn modelId="{5F94038B-706D-4489-8185-0BB1DF15912A}" type="presParOf" srcId="{9D842E39-1570-4DAE-A43D-990CE27CA71B}" destId="{C55C9FCC-48B0-4E03-971B-C384C487D5B5}" srcOrd="0" destOrd="0" presId="urn:microsoft.com/office/officeart/2005/8/layout/pList1"/>
    <dgm:cxn modelId="{F0A05FE1-7C17-4954-818E-9B31D5A823F7}" type="presParOf" srcId="{9D842E39-1570-4DAE-A43D-990CE27CA71B}" destId="{2632581E-6988-4A92-A4B9-8BE49A605628}" srcOrd="1" destOrd="0" presId="urn:microsoft.com/office/officeart/2005/8/layout/pList1"/>
    <dgm:cxn modelId="{432464A5-2C4B-496C-B482-D081EF21DFEA}" type="presParOf" srcId="{01721BDD-46AD-475D-AA4F-43BB8306CF79}" destId="{89CEEE57-6549-490F-9A8E-72DD5C3111CE}" srcOrd="3" destOrd="0" presId="urn:microsoft.com/office/officeart/2005/8/layout/pList1"/>
    <dgm:cxn modelId="{74F81274-4941-42C6-93D2-B51BA2F545F5}" type="presParOf" srcId="{01721BDD-46AD-475D-AA4F-43BB8306CF79}" destId="{780FCF7D-F660-46B3-B3EB-387438DE1FDD}" srcOrd="4" destOrd="0" presId="urn:microsoft.com/office/officeart/2005/8/layout/pList1"/>
    <dgm:cxn modelId="{878F08C0-68AB-49A3-87ED-420AF533775C}" type="presParOf" srcId="{780FCF7D-F660-46B3-B3EB-387438DE1FDD}" destId="{9C31E3A5-2BD7-4A79-AC87-46BC1EB1BBDA}" srcOrd="0" destOrd="0" presId="urn:microsoft.com/office/officeart/2005/8/layout/pList1"/>
    <dgm:cxn modelId="{C3C6270D-20BB-4D91-8534-01D22923A431}" type="presParOf" srcId="{780FCF7D-F660-46B3-B3EB-387438DE1FDD}" destId="{E3CDCB22-B85E-4058-A301-D51B2C1DC613}" srcOrd="1" destOrd="0" presId="urn:microsoft.com/office/officeart/2005/8/layout/pList1"/>
    <dgm:cxn modelId="{1624714C-CBA4-497A-886C-31143A46B199}" type="presParOf" srcId="{01721BDD-46AD-475D-AA4F-43BB8306CF79}" destId="{75A5FBB8-28D5-4123-BD5F-30AF8CE58C34}" srcOrd="5" destOrd="0" presId="urn:microsoft.com/office/officeart/2005/8/layout/pList1"/>
    <dgm:cxn modelId="{1F37B6A4-177E-4998-9CEB-EF7CA7320638}" type="presParOf" srcId="{01721BDD-46AD-475D-AA4F-43BB8306CF79}" destId="{8C6C00A4-8BFE-48E5-8DE1-177AA6CC7B23}" srcOrd="6" destOrd="0" presId="urn:microsoft.com/office/officeart/2005/8/layout/pList1"/>
    <dgm:cxn modelId="{70C97AEE-7F13-4E40-9D96-C7DA9FF32B80}" type="presParOf" srcId="{8C6C00A4-8BFE-48E5-8DE1-177AA6CC7B23}" destId="{F8B19172-A6C2-4406-873A-0394004B6E49}" srcOrd="0" destOrd="0" presId="urn:microsoft.com/office/officeart/2005/8/layout/pList1"/>
    <dgm:cxn modelId="{9955BA1E-1446-4A3F-961B-1AE4B001C1C2}" type="presParOf" srcId="{8C6C00A4-8BFE-48E5-8DE1-177AA6CC7B23}" destId="{06A2120A-47D9-4B6D-85FF-A31274D3C04E}"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D8C03D-AD76-4EB4-B371-6BC84CEFB54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3FC19F7-A179-4976-87AB-1654F4D96C90}">
      <dgm:prSet/>
      <dgm:spPr/>
      <dgm:t>
        <a:bodyPr/>
        <a:lstStyle/>
        <a:p>
          <a:r>
            <a:rPr lang="en-US" b="1" baseline="0"/>
            <a:t>Git</a:t>
          </a:r>
          <a:r>
            <a:rPr lang="en-US" baseline="0"/>
            <a:t>: The source control </a:t>
          </a:r>
          <a:r>
            <a:rPr lang="en-US" u="sng" baseline="0"/>
            <a:t>system</a:t>
          </a:r>
          <a:endParaRPr lang="en-US" u="sng"/>
        </a:p>
      </dgm:t>
    </dgm:pt>
    <dgm:pt modelId="{A2C95917-9FB6-4DDA-AA46-2C058446C9D4}" type="parTrans" cxnId="{CB7C623A-66EE-476E-8470-CCAE53F1FC17}">
      <dgm:prSet/>
      <dgm:spPr/>
      <dgm:t>
        <a:bodyPr/>
        <a:lstStyle/>
        <a:p>
          <a:endParaRPr lang="en-US"/>
        </a:p>
      </dgm:t>
    </dgm:pt>
    <dgm:pt modelId="{E475C452-77DE-406E-ACFA-66C7FAE78D86}" type="sibTrans" cxnId="{CB7C623A-66EE-476E-8470-CCAE53F1FC17}">
      <dgm:prSet/>
      <dgm:spPr/>
      <dgm:t>
        <a:bodyPr/>
        <a:lstStyle/>
        <a:p>
          <a:endParaRPr lang="en-US"/>
        </a:p>
      </dgm:t>
    </dgm:pt>
    <dgm:pt modelId="{E0173BA7-11A7-4569-94FE-6CB6EE986FD3}">
      <dgm:prSet/>
      <dgm:spPr/>
      <dgm:t>
        <a:bodyPr/>
        <a:lstStyle/>
        <a:p>
          <a:r>
            <a:rPr lang="en-US" b="1" baseline="0"/>
            <a:t>GitHub</a:t>
          </a:r>
          <a:r>
            <a:rPr lang="en-US" baseline="0"/>
            <a:t>: A </a:t>
          </a:r>
          <a:r>
            <a:rPr lang="en-US" u="sng" baseline="0"/>
            <a:t>hosting</a:t>
          </a:r>
          <a:r>
            <a:rPr lang="en-US" baseline="0"/>
            <a:t> service for Git repositories, only stores code</a:t>
          </a:r>
          <a:endParaRPr lang="en-US"/>
        </a:p>
      </dgm:t>
    </dgm:pt>
    <dgm:pt modelId="{4DA97383-B440-4363-922F-49D3758FE009}" type="parTrans" cxnId="{A8FE5D03-614F-435C-806B-477E42EE5940}">
      <dgm:prSet/>
      <dgm:spPr/>
      <dgm:t>
        <a:bodyPr/>
        <a:lstStyle/>
        <a:p>
          <a:endParaRPr lang="en-US"/>
        </a:p>
      </dgm:t>
    </dgm:pt>
    <dgm:pt modelId="{C6213120-ADCD-4BB0-B768-3EEE98F5D7C9}" type="sibTrans" cxnId="{A8FE5D03-614F-435C-806B-477E42EE5940}">
      <dgm:prSet/>
      <dgm:spPr/>
      <dgm:t>
        <a:bodyPr/>
        <a:lstStyle/>
        <a:p>
          <a:endParaRPr lang="en-US"/>
        </a:p>
      </dgm:t>
    </dgm:pt>
    <dgm:pt modelId="{43EF5E9A-0422-4AE9-83B5-0D4124E42CAD}" type="pres">
      <dgm:prSet presAssocID="{2BD8C03D-AD76-4EB4-B371-6BC84CEFB544}" presName="vert0" presStyleCnt="0">
        <dgm:presLayoutVars>
          <dgm:dir/>
          <dgm:animOne val="branch"/>
          <dgm:animLvl val="lvl"/>
        </dgm:presLayoutVars>
      </dgm:prSet>
      <dgm:spPr/>
    </dgm:pt>
    <dgm:pt modelId="{0917EB2C-700E-4ACB-9D55-307A781544B4}" type="pres">
      <dgm:prSet presAssocID="{43FC19F7-A179-4976-87AB-1654F4D96C90}" presName="thickLine" presStyleLbl="alignNode1" presStyleIdx="0" presStyleCnt="2"/>
      <dgm:spPr/>
    </dgm:pt>
    <dgm:pt modelId="{5BB4D37D-63C7-4A30-84E1-488B28673A4A}" type="pres">
      <dgm:prSet presAssocID="{43FC19F7-A179-4976-87AB-1654F4D96C90}" presName="horz1" presStyleCnt="0"/>
      <dgm:spPr/>
    </dgm:pt>
    <dgm:pt modelId="{EFB59D65-39BE-45CA-A24C-78EE14931A00}" type="pres">
      <dgm:prSet presAssocID="{43FC19F7-A179-4976-87AB-1654F4D96C90}" presName="tx1" presStyleLbl="revTx" presStyleIdx="0" presStyleCnt="2"/>
      <dgm:spPr/>
    </dgm:pt>
    <dgm:pt modelId="{FC711DF5-1D98-4598-A715-19A0FB875527}" type="pres">
      <dgm:prSet presAssocID="{43FC19F7-A179-4976-87AB-1654F4D96C90}" presName="vert1" presStyleCnt="0"/>
      <dgm:spPr/>
    </dgm:pt>
    <dgm:pt modelId="{1651831E-F99A-4BEF-BF25-6BD9FE5CC71A}" type="pres">
      <dgm:prSet presAssocID="{E0173BA7-11A7-4569-94FE-6CB6EE986FD3}" presName="thickLine" presStyleLbl="alignNode1" presStyleIdx="1" presStyleCnt="2"/>
      <dgm:spPr/>
    </dgm:pt>
    <dgm:pt modelId="{062F0562-63FE-49C7-87FF-A8B035C1509B}" type="pres">
      <dgm:prSet presAssocID="{E0173BA7-11A7-4569-94FE-6CB6EE986FD3}" presName="horz1" presStyleCnt="0"/>
      <dgm:spPr/>
    </dgm:pt>
    <dgm:pt modelId="{464CCD25-49F1-4AA3-885C-49B82EA0E7CC}" type="pres">
      <dgm:prSet presAssocID="{E0173BA7-11A7-4569-94FE-6CB6EE986FD3}" presName="tx1" presStyleLbl="revTx" presStyleIdx="1" presStyleCnt="2"/>
      <dgm:spPr/>
    </dgm:pt>
    <dgm:pt modelId="{3BF895F1-D964-457D-B075-7AEF88043D2C}" type="pres">
      <dgm:prSet presAssocID="{E0173BA7-11A7-4569-94FE-6CB6EE986FD3}" presName="vert1" presStyleCnt="0"/>
      <dgm:spPr/>
    </dgm:pt>
  </dgm:ptLst>
  <dgm:cxnLst>
    <dgm:cxn modelId="{A8FE5D03-614F-435C-806B-477E42EE5940}" srcId="{2BD8C03D-AD76-4EB4-B371-6BC84CEFB544}" destId="{E0173BA7-11A7-4569-94FE-6CB6EE986FD3}" srcOrd="1" destOrd="0" parTransId="{4DA97383-B440-4363-922F-49D3758FE009}" sibTransId="{C6213120-ADCD-4BB0-B768-3EEE98F5D7C9}"/>
    <dgm:cxn modelId="{E7FEC40A-95AF-4004-BB7B-57EB53F96088}" type="presOf" srcId="{2BD8C03D-AD76-4EB4-B371-6BC84CEFB544}" destId="{43EF5E9A-0422-4AE9-83B5-0D4124E42CAD}" srcOrd="0" destOrd="0" presId="urn:microsoft.com/office/officeart/2008/layout/LinedList"/>
    <dgm:cxn modelId="{CB7C623A-66EE-476E-8470-CCAE53F1FC17}" srcId="{2BD8C03D-AD76-4EB4-B371-6BC84CEFB544}" destId="{43FC19F7-A179-4976-87AB-1654F4D96C90}" srcOrd="0" destOrd="0" parTransId="{A2C95917-9FB6-4DDA-AA46-2C058446C9D4}" sibTransId="{E475C452-77DE-406E-ACFA-66C7FAE78D86}"/>
    <dgm:cxn modelId="{691ED344-43A2-4BBE-834D-3B09E3610274}" type="presOf" srcId="{E0173BA7-11A7-4569-94FE-6CB6EE986FD3}" destId="{464CCD25-49F1-4AA3-885C-49B82EA0E7CC}" srcOrd="0" destOrd="0" presId="urn:microsoft.com/office/officeart/2008/layout/LinedList"/>
    <dgm:cxn modelId="{55BE1A8F-B3B3-4502-B18B-BE5B1D060857}" type="presOf" srcId="{43FC19F7-A179-4976-87AB-1654F4D96C90}" destId="{EFB59D65-39BE-45CA-A24C-78EE14931A00}" srcOrd="0" destOrd="0" presId="urn:microsoft.com/office/officeart/2008/layout/LinedList"/>
    <dgm:cxn modelId="{E6D27F90-8D01-40E8-B3C9-DB654EA63628}" type="presParOf" srcId="{43EF5E9A-0422-4AE9-83B5-0D4124E42CAD}" destId="{0917EB2C-700E-4ACB-9D55-307A781544B4}" srcOrd="0" destOrd="0" presId="urn:microsoft.com/office/officeart/2008/layout/LinedList"/>
    <dgm:cxn modelId="{12C4CB97-EE11-4E95-BE52-B9BAD99DFE31}" type="presParOf" srcId="{43EF5E9A-0422-4AE9-83B5-0D4124E42CAD}" destId="{5BB4D37D-63C7-4A30-84E1-488B28673A4A}" srcOrd="1" destOrd="0" presId="urn:microsoft.com/office/officeart/2008/layout/LinedList"/>
    <dgm:cxn modelId="{CCFEAF2A-BAE1-4E3C-810A-95A762C1E6AD}" type="presParOf" srcId="{5BB4D37D-63C7-4A30-84E1-488B28673A4A}" destId="{EFB59D65-39BE-45CA-A24C-78EE14931A00}" srcOrd="0" destOrd="0" presId="urn:microsoft.com/office/officeart/2008/layout/LinedList"/>
    <dgm:cxn modelId="{A1CC9294-A43B-44BA-9143-AAC57C4BD529}" type="presParOf" srcId="{5BB4D37D-63C7-4A30-84E1-488B28673A4A}" destId="{FC711DF5-1D98-4598-A715-19A0FB875527}" srcOrd="1" destOrd="0" presId="urn:microsoft.com/office/officeart/2008/layout/LinedList"/>
    <dgm:cxn modelId="{2EA5C1D6-3E88-4851-8809-636EC8CED984}" type="presParOf" srcId="{43EF5E9A-0422-4AE9-83B5-0D4124E42CAD}" destId="{1651831E-F99A-4BEF-BF25-6BD9FE5CC71A}" srcOrd="2" destOrd="0" presId="urn:microsoft.com/office/officeart/2008/layout/LinedList"/>
    <dgm:cxn modelId="{61FA0A11-7B14-4DDC-A85D-B43BFEF46B80}" type="presParOf" srcId="{43EF5E9A-0422-4AE9-83B5-0D4124E42CAD}" destId="{062F0562-63FE-49C7-87FF-A8B035C1509B}" srcOrd="3" destOrd="0" presId="urn:microsoft.com/office/officeart/2008/layout/LinedList"/>
    <dgm:cxn modelId="{54A41498-4575-4E6D-AA16-4C446E4B24CD}" type="presParOf" srcId="{062F0562-63FE-49C7-87FF-A8B035C1509B}" destId="{464CCD25-49F1-4AA3-885C-49B82EA0E7CC}" srcOrd="0" destOrd="0" presId="urn:microsoft.com/office/officeart/2008/layout/LinedList"/>
    <dgm:cxn modelId="{87A91B2E-46B6-43E0-AFFB-B2F6D55098F1}" type="presParOf" srcId="{062F0562-63FE-49C7-87FF-A8B035C1509B}" destId="{3BF895F1-D964-457D-B075-7AEF88043D2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94E8726-9974-4906-B63B-5D1A2B0D2597}">
      <dgm:prSet/>
      <dgm:spPr/>
      <dgm:t>
        <a:bodyPr/>
        <a:lstStyle/>
        <a:p>
          <a:pPr>
            <a:lnSpc>
              <a:spcPct val="100000"/>
            </a:lnSpc>
          </a:pPr>
          <a:r>
            <a:rPr lang="en-US" b="1"/>
            <a:t>Repository</a:t>
          </a:r>
          <a:r>
            <a:rPr lang="en-US"/>
            <a:t>: Represents main project (Repo)</a:t>
          </a:r>
        </a:p>
      </dgm:t>
    </dgm:pt>
    <dgm:pt modelId="{3C1EE5E5-06A9-4E49-AF53-CEFDB4EF81F9}" type="parTrans" cxnId="{39F01202-B2FF-46A1-BD23-789AFF6456D7}">
      <dgm:prSet/>
      <dgm:spPr/>
      <dgm:t>
        <a:bodyPr/>
        <a:lstStyle/>
        <a:p>
          <a:endParaRPr lang="en-US"/>
        </a:p>
      </dgm:t>
    </dgm:pt>
    <dgm:pt modelId="{09D55B1F-87D4-42BE-A5DC-AEB03E88FDB0}" type="sibTrans" cxnId="{39F01202-B2FF-46A1-BD23-789AFF6456D7}">
      <dgm:prSet/>
      <dgm:spPr/>
      <dgm:t>
        <a:bodyPr/>
        <a:lstStyle/>
        <a:p>
          <a:endParaRPr lang="en-US"/>
        </a:p>
      </dgm:t>
    </dgm:pt>
    <dgm:pt modelId="{CDB7E594-FCF6-4FF6-A824-FE7E591199B3}">
      <dgm:prSet/>
      <dgm:spPr/>
      <dgm:t>
        <a:bodyPr/>
        <a:lstStyle/>
        <a:p>
          <a:pPr>
            <a:lnSpc>
              <a:spcPct val="100000"/>
            </a:lnSpc>
          </a:pPr>
          <a:r>
            <a:rPr lang="en-US" b="1"/>
            <a:t>Staging</a:t>
          </a:r>
          <a:r>
            <a:rPr lang="en-US"/>
            <a:t>: Files with changes ready to save </a:t>
          </a:r>
        </a:p>
      </dgm:t>
    </dgm:pt>
    <dgm:pt modelId="{A2B000F3-760D-49C6-876F-265D28674E33}" type="parTrans" cxnId="{423BB071-4DA0-405F-B198-4D32EB7AC56A}">
      <dgm:prSet/>
      <dgm:spPr/>
      <dgm:t>
        <a:bodyPr/>
        <a:lstStyle/>
        <a:p>
          <a:endParaRPr lang="en-US"/>
        </a:p>
      </dgm:t>
    </dgm:pt>
    <dgm:pt modelId="{49046AD7-EA67-4EF9-B2DC-D0A7DB696AA9}" type="sibTrans" cxnId="{423BB071-4DA0-405F-B198-4D32EB7AC56A}">
      <dgm:prSet/>
      <dgm:spPr/>
      <dgm:t>
        <a:bodyPr/>
        <a:lstStyle/>
        <a:p>
          <a:endParaRPr lang="en-US"/>
        </a:p>
      </dgm:t>
    </dgm:pt>
    <dgm:pt modelId="{7521B5B1-D445-4729-999A-8A3E6F5EC423}">
      <dgm:prSet/>
      <dgm:spPr/>
      <dgm:t>
        <a:bodyPr/>
        <a:lstStyle/>
        <a:p>
          <a:pPr>
            <a:lnSpc>
              <a:spcPct val="100000"/>
            </a:lnSpc>
          </a:pPr>
          <a:r>
            <a:rPr lang="en-US" b="1"/>
            <a:t>Committing</a:t>
          </a:r>
          <a:r>
            <a:rPr lang="en-US"/>
            <a:t>: Snapshots of changes in staging area </a:t>
          </a:r>
        </a:p>
      </dgm:t>
    </dgm:pt>
    <dgm:pt modelId="{C5CE66E2-5D0B-459B-97D4-86925B448D1C}" type="parTrans" cxnId="{E9A1A46C-EF23-48B1-87A7-97AAE5F66B59}">
      <dgm:prSet/>
      <dgm:spPr/>
      <dgm:t>
        <a:bodyPr/>
        <a:lstStyle/>
        <a:p>
          <a:endParaRPr lang="en-US"/>
        </a:p>
      </dgm:t>
    </dgm:pt>
    <dgm:pt modelId="{C51D3FF5-B573-4421-A14E-F690F9D48040}" type="sibTrans" cxnId="{E9A1A46C-EF23-48B1-87A7-97AAE5F66B59}">
      <dgm:prSet/>
      <dgm:spPr/>
      <dgm:t>
        <a:bodyPr/>
        <a:lstStyle/>
        <a:p>
          <a:endParaRPr lang="en-US"/>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3"/>
      <dgm:spPr/>
    </dgm:pt>
    <dgm:pt modelId="{F685725B-FCD5-46E6-854E-B057DAA3DF04}" type="pres">
      <dgm:prSet presAssocID="{194E8726-9974-4906-B63B-5D1A2B0D2597}" presName="iconRect" presStyleLbl="node1" presStyleIdx="0" presStyleCnt="3"/>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itcoin"/>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3">
        <dgm:presLayoutVars>
          <dgm:chMax val="0"/>
          <dgm:chPref val="0"/>
        </dgm:presLayoutVars>
      </dgm:prSet>
      <dgm:spPr/>
    </dgm:pt>
    <dgm:pt modelId="{AC5A5416-B540-477F-B36D-2E91E4CEA665}" type="pres">
      <dgm:prSet presAssocID="{09D55B1F-87D4-42BE-A5DC-AEB03E88FDB0}" presName="sibTrans" presStyleCnt="0"/>
      <dgm:spPr/>
    </dgm:pt>
    <dgm:pt modelId="{D7B9DC9C-C5AE-4F8B-ABDC-0410CED83C4E}" type="pres">
      <dgm:prSet presAssocID="{CDB7E594-FCF6-4FF6-A824-FE7E591199B3}" presName="compNode" presStyleCnt="0"/>
      <dgm:spPr/>
    </dgm:pt>
    <dgm:pt modelId="{37DC6C3B-5BA7-454A-8935-5390DF375846}" type="pres">
      <dgm:prSet presAssocID="{CDB7E594-FCF6-4FF6-A824-FE7E591199B3}" presName="bgRect" presStyleLbl="bgShp" presStyleIdx="1" presStyleCnt="3"/>
      <dgm:spPr/>
    </dgm:pt>
    <dgm:pt modelId="{D7A8E311-F110-4C28-B5D6-157558EB9BE8}" type="pres">
      <dgm:prSet presAssocID="{CDB7E594-FCF6-4FF6-A824-FE7E591199B3}" presName="iconRect" presStyleLbl="nod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pt>
    <dgm:pt modelId="{A419053D-7621-404B-9882-0A2B9284DB53}" type="pres">
      <dgm:prSet presAssocID="{CDB7E594-FCF6-4FF6-A824-FE7E591199B3}" presName="spaceRect" presStyleCnt="0"/>
      <dgm:spPr/>
    </dgm:pt>
    <dgm:pt modelId="{2EE39B4F-50E6-4902-9758-17B99B1A73AC}" type="pres">
      <dgm:prSet presAssocID="{CDB7E594-FCF6-4FF6-A824-FE7E591199B3}" presName="parTx" presStyleLbl="revTx" presStyleIdx="1" presStyleCnt="3">
        <dgm:presLayoutVars>
          <dgm:chMax val="0"/>
          <dgm:chPref val="0"/>
        </dgm:presLayoutVars>
      </dgm:prSet>
      <dgm:spPr/>
    </dgm:pt>
    <dgm:pt modelId="{344E37B3-1E13-4627-892D-63ECC8CF1C4B}" type="pres">
      <dgm:prSet presAssocID="{49046AD7-EA67-4EF9-B2DC-D0A7DB696AA9}" presName="sibTrans" presStyleCnt="0"/>
      <dgm:spPr/>
    </dgm:pt>
    <dgm:pt modelId="{82312747-583C-47BD-B7AE-A87328F0C4B7}" type="pres">
      <dgm:prSet presAssocID="{7521B5B1-D445-4729-999A-8A3E6F5EC423}" presName="compNode" presStyleCnt="0"/>
      <dgm:spPr/>
    </dgm:pt>
    <dgm:pt modelId="{F7699F2D-6081-4E68-A967-C106380F0FA5}" type="pres">
      <dgm:prSet presAssocID="{7521B5B1-D445-4729-999A-8A3E6F5EC423}" presName="bgRect" presStyleLbl="bgShp" presStyleIdx="2" presStyleCnt="3"/>
      <dgm:spPr/>
    </dgm:pt>
    <dgm:pt modelId="{0C757911-DD4C-438F-8620-EEFB6445EF9B}" type="pres">
      <dgm:prSet presAssocID="{7521B5B1-D445-4729-999A-8A3E6F5EC42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isk"/>
        </a:ext>
      </dgm:extLst>
    </dgm:pt>
    <dgm:pt modelId="{B467D310-4A93-4AEF-AFE8-CAA1CB637690}" type="pres">
      <dgm:prSet presAssocID="{7521B5B1-D445-4729-999A-8A3E6F5EC423}" presName="spaceRect" presStyleCnt="0"/>
      <dgm:spPr/>
    </dgm:pt>
    <dgm:pt modelId="{900FF219-7D4F-425E-BADC-63068E7ADF25}" type="pres">
      <dgm:prSet presAssocID="{7521B5B1-D445-4729-999A-8A3E6F5EC423}" presName="parTx" presStyleLbl="revTx" presStyleIdx="2" presStyleCnt="3">
        <dgm:presLayoutVars>
          <dgm:chMax val="0"/>
          <dgm:chPref val="0"/>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09642415-5D56-46C2-872D-0C11E87AB840}" type="presOf" srcId="{194E8726-9974-4906-B63B-5D1A2B0D2597}" destId="{90365817-AC47-4315-A8D0-15DBBF0FB1DD}" srcOrd="0" destOrd="0" presId="urn:microsoft.com/office/officeart/2018/2/layout/IconVerticalSolidList"/>
    <dgm:cxn modelId="{AB8C892C-7C2E-404A-A445-7C69E0740A86}" type="presOf" srcId="{7521B5B1-D445-4729-999A-8A3E6F5EC423}" destId="{900FF219-7D4F-425E-BADC-63068E7ADF25}" srcOrd="0" destOrd="0" presId="urn:microsoft.com/office/officeart/2018/2/layout/IconVerticalSolidList"/>
    <dgm:cxn modelId="{E9A1A46C-EF23-48B1-87A7-97AAE5F66B59}" srcId="{0046BC35-C90C-4C26-ADB1-3D8D2F623AC9}" destId="{7521B5B1-D445-4729-999A-8A3E6F5EC423}" srcOrd="2" destOrd="0" parTransId="{C5CE66E2-5D0B-459B-97D4-86925B448D1C}" sibTransId="{C51D3FF5-B573-4421-A14E-F690F9D48040}"/>
    <dgm:cxn modelId="{57A34A71-5D19-413A-9538-6D927A7EF2DE}" type="presOf" srcId="{CDB7E594-FCF6-4FF6-A824-FE7E591199B3}" destId="{2EE39B4F-50E6-4902-9758-17B99B1A73AC}" srcOrd="0" destOrd="0" presId="urn:microsoft.com/office/officeart/2018/2/layout/IconVerticalSolidList"/>
    <dgm:cxn modelId="{423BB071-4DA0-405F-B198-4D32EB7AC56A}" srcId="{0046BC35-C90C-4C26-ADB1-3D8D2F623AC9}" destId="{CDB7E594-FCF6-4FF6-A824-FE7E591199B3}" srcOrd="1" destOrd="0" parTransId="{A2B000F3-760D-49C6-876F-265D28674E33}" sibTransId="{49046AD7-EA67-4EF9-B2DC-D0A7DB696AA9}"/>
    <dgm:cxn modelId="{F9238D7B-23B8-4C7F-B3B7-447626BD9983}" type="presOf" srcId="{0046BC35-C90C-4C26-ADB1-3D8D2F623AC9}" destId="{01C25ACE-EF3C-4589-81A7-437145DABC24}" srcOrd="0" destOrd="0" presId="urn:microsoft.com/office/officeart/2018/2/layout/IconVerticalSolidList"/>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7CCF6CF0-410B-46AA-9ED5-EC7E6FBFF7AB}" type="presParOf" srcId="{01C25ACE-EF3C-4589-81A7-437145DABC24}" destId="{AC5A5416-B540-477F-B36D-2E91E4CEA665}" srcOrd="1" destOrd="0" presId="urn:microsoft.com/office/officeart/2018/2/layout/IconVerticalSolidList"/>
    <dgm:cxn modelId="{97F014DE-A65C-4B37-8F93-B187C24048BA}" type="presParOf" srcId="{01C25ACE-EF3C-4589-81A7-437145DABC24}" destId="{D7B9DC9C-C5AE-4F8B-ABDC-0410CED83C4E}" srcOrd="2" destOrd="0" presId="urn:microsoft.com/office/officeart/2018/2/layout/IconVerticalSolidList"/>
    <dgm:cxn modelId="{60B703F8-1CE6-42F1-B6A4-593C75A6DBB0}" type="presParOf" srcId="{D7B9DC9C-C5AE-4F8B-ABDC-0410CED83C4E}" destId="{37DC6C3B-5BA7-454A-8935-5390DF375846}" srcOrd="0" destOrd="0" presId="urn:microsoft.com/office/officeart/2018/2/layout/IconVerticalSolidList"/>
    <dgm:cxn modelId="{D2DFB07C-ECD9-4DF4-9664-7E664DB9CABC}" type="presParOf" srcId="{D7B9DC9C-C5AE-4F8B-ABDC-0410CED83C4E}" destId="{D7A8E311-F110-4C28-B5D6-157558EB9BE8}" srcOrd="1" destOrd="0" presId="urn:microsoft.com/office/officeart/2018/2/layout/IconVerticalSolidList"/>
    <dgm:cxn modelId="{47AE52F5-D1B5-4473-A2C2-69E646FAC1F5}" type="presParOf" srcId="{D7B9DC9C-C5AE-4F8B-ABDC-0410CED83C4E}" destId="{A419053D-7621-404B-9882-0A2B9284DB53}" srcOrd="2" destOrd="0" presId="urn:microsoft.com/office/officeart/2018/2/layout/IconVerticalSolidList"/>
    <dgm:cxn modelId="{CD0A90A8-6868-4017-BD46-49C242097D3C}" type="presParOf" srcId="{D7B9DC9C-C5AE-4F8B-ABDC-0410CED83C4E}" destId="{2EE39B4F-50E6-4902-9758-17B99B1A73AC}" srcOrd="3" destOrd="0" presId="urn:microsoft.com/office/officeart/2018/2/layout/IconVerticalSolidList"/>
    <dgm:cxn modelId="{85F07158-8E9E-48E8-9653-7A59A1F5F337}" type="presParOf" srcId="{01C25ACE-EF3C-4589-81A7-437145DABC24}" destId="{344E37B3-1E13-4627-892D-63ECC8CF1C4B}" srcOrd="3" destOrd="0" presId="urn:microsoft.com/office/officeart/2018/2/layout/IconVerticalSolidList"/>
    <dgm:cxn modelId="{58F015E3-AA4A-4B42-8CF0-0509C85E14E9}" type="presParOf" srcId="{01C25ACE-EF3C-4589-81A7-437145DABC24}" destId="{82312747-583C-47BD-B7AE-A87328F0C4B7}" srcOrd="4" destOrd="0" presId="urn:microsoft.com/office/officeart/2018/2/layout/IconVerticalSolidList"/>
    <dgm:cxn modelId="{2E46995B-88FA-4E30-847C-5466A996E71A}" type="presParOf" srcId="{82312747-583C-47BD-B7AE-A87328F0C4B7}" destId="{F7699F2D-6081-4E68-A967-C106380F0FA5}" srcOrd="0" destOrd="0" presId="urn:microsoft.com/office/officeart/2018/2/layout/IconVerticalSolidList"/>
    <dgm:cxn modelId="{CCBF2F22-7189-4066-88B7-A929E4B0116D}" type="presParOf" srcId="{82312747-583C-47BD-B7AE-A87328F0C4B7}" destId="{0C757911-DD4C-438F-8620-EEFB6445EF9B}" srcOrd="1" destOrd="0" presId="urn:microsoft.com/office/officeart/2018/2/layout/IconVerticalSolidList"/>
    <dgm:cxn modelId="{16F843F0-5FD2-4EC6-B7F4-C01FA0219ADD}" type="presParOf" srcId="{82312747-583C-47BD-B7AE-A87328F0C4B7}" destId="{B467D310-4A93-4AEF-AFE8-CAA1CB637690}" srcOrd="2" destOrd="0" presId="urn:microsoft.com/office/officeart/2018/2/layout/IconVerticalSolidList"/>
    <dgm:cxn modelId="{7EADD5F0-DE13-4AE1-8CF2-559C825DB5DB}" type="presParOf" srcId="{82312747-583C-47BD-B7AE-A87328F0C4B7}" destId="{900FF219-7D4F-425E-BADC-63068E7ADF25}"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3945292-3C36-4BD7-B204-EF83858C1F4D}"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en-US"/>
        </a:p>
      </dgm:t>
    </dgm:pt>
    <dgm:pt modelId="{36B34E8B-7D9E-47A2-ADA5-658B4C6F7DE9}">
      <dgm:prSet custT="1"/>
      <dgm:spPr/>
      <dgm:t>
        <a:bodyPr/>
        <a:lstStyle/>
        <a:p>
          <a:r>
            <a:rPr lang="en-US" sz="2000"/>
            <a:t>Created with command: </a:t>
          </a:r>
          <a:br>
            <a:rPr lang="en-US" sz="2000"/>
          </a:br>
          <a:r>
            <a:rPr lang="en-US" sz="2000" b="1"/>
            <a:t>git </a:t>
          </a:r>
          <a:r>
            <a:rPr lang="en-US" sz="2000" b="1" err="1"/>
            <a:t>init</a:t>
          </a:r>
          <a:endParaRPr lang="en-US" sz="2000" b="1"/>
        </a:p>
      </dgm:t>
    </dgm:pt>
    <dgm:pt modelId="{D5EBB4A2-BA98-44E5-A568-E711B9F3DD6B}" type="parTrans" cxnId="{4B2E748A-BCFB-4DCA-83CD-0DC43625BECB}">
      <dgm:prSet/>
      <dgm:spPr/>
      <dgm:t>
        <a:bodyPr/>
        <a:lstStyle/>
        <a:p>
          <a:endParaRPr lang="en-US" sz="2000"/>
        </a:p>
      </dgm:t>
    </dgm:pt>
    <dgm:pt modelId="{B9EE62F7-2501-4493-BE46-BA71596871C6}" type="sibTrans" cxnId="{4B2E748A-BCFB-4DCA-83CD-0DC43625BECB}">
      <dgm:prSet custT="1"/>
      <dgm:spPr/>
      <dgm:t>
        <a:bodyPr/>
        <a:lstStyle/>
        <a:p>
          <a:endParaRPr lang="en-US" sz="2000"/>
        </a:p>
      </dgm:t>
    </dgm:pt>
    <dgm:pt modelId="{08D572F8-9E66-4E68-9806-0C71A6267138}">
      <dgm:prSet custT="1"/>
      <dgm:spPr/>
      <dgm:t>
        <a:bodyPr/>
        <a:lstStyle/>
        <a:p>
          <a:r>
            <a:rPr lang="en-US" sz="2000"/>
            <a:t>Git creates a </a:t>
          </a:r>
          <a:br>
            <a:rPr lang="en-US" sz="2000"/>
          </a:br>
          <a:r>
            <a:rPr lang="en-US" sz="2000" b="1"/>
            <a:t>.git folder</a:t>
          </a:r>
        </a:p>
      </dgm:t>
    </dgm:pt>
    <dgm:pt modelId="{91F37ACB-387E-442C-8050-C7A33E07C2BF}" type="parTrans" cxnId="{5ABEDCAE-F6A0-47BF-9C8D-E33A0D3B982D}">
      <dgm:prSet/>
      <dgm:spPr/>
      <dgm:t>
        <a:bodyPr/>
        <a:lstStyle/>
        <a:p>
          <a:endParaRPr lang="en-US" sz="2000"/>
        </a:p>
      </dgm:t>
    </dgm:pt>
    <dgm:pt modelId="{01D707F6-F06F-4A2C-92DD-58E68F4ABEED}" type="sibTrans" cxnId="{5ABEDCAE-F6A0-47BF-9C8D-E33A0D3B982D}">
      <dgm:prSet custT="1"/>
      <dgm:spPr/>
      <dgm:t>
        <a:bodyPr/>
        <a:lstStyle/>
        <a:p>
          <a:endParaRPr lang="en-US" sz="2000"/>
        </a:p>
      </dgm:t>
    </dgm:pt>
    <dgm:pt modelId="{87491B60-CE87-4964-AA1F-0461FCE315AC}">
      <dgm:prSet custT="1"/>
      <dgm:spPr/>
      <dgm:t>
        <a:bodyPr/>
        <a:lstStyle/>
        <a:p>
          <a:r>
            <a:rPr lang="en-US" sz="2000"/>
            <a:t>.git folder contains </a:t>
          </a:r>
          <a:r>
            <a:rPr lang="en-US" sz="2000" b="1"/>
            <a:t>information</a:t>
          </a:r>
          <a:r>
            <a:rPr lang="en-US" sz="2000"/>
            <a:t> needed for Git to function</a:t>
          </a:r>
        </a:p>
      </dgm:t>
    </dgm:pt>
    <dgm:pt modelId="{79E47982-B42A-4DA8-80ED-03FECC82A28D}" type="parTrans" cxnId="{3FA5B8AF-1C85-4AC0-827C-5A5E6156D167}">
      <dgm:prSet/>
      <dgm:spPr/>
      <dgm:t>
        <a:bodyPr/>
        <a:lstStyle/>
        <a:p>
          <a:endParaRPr lang="en-US" sz="2000"/>
        </a:p>
      </dgm:t>
    </dgm:pt>
    <dgm:pt modelId="{BF1B7F1E-C9AE-4E5A-B62E-DFDB1C01195F}" type="sibTrans" cxnId="{3FA5B8AF-1C85-4AC0-827C-5A5E6156D167}">
      <dgm:prSet custT="1"/>
      <dgm:spPr/>
      <dgm:t>
        <a:bodyPr/>
        <a:lstStyle/>
        <a:p>
          <a:endParaRPr lang="en-US" sz="2000"/>
        </a:p>
      </dgm:t>
    </dgm:pt>
    <dgm:pt modelId="{6510B392-E06C-45CE-8C57-99D908CB6F67}">
      <dgm:prSet custT="1"/>
      <dgm:spPr>
        <a:solidFill>
          <a:schemeClr val="accent5">
            <a:lumMod val="75000"/>
          </a:schemeClr>
        </a:solidFill>
      </dgm:spPr>
      <dgm:t>
        <a:bodyPr/>
        <a:lstStyle/>
        <a:p>
          <a:r>
            <a:rPr lang="en-US" sz="2000"/>
            <a:t>To </a:t>
          </a:r>
          <a:r>
            <a:rPr lang="en-US" sz="2000" b="1"/>
            <a:t>remove</a:t>
          </a:r>
          <a:r>
            <a:rPr lang="en-US" sz="2000"/>
            <a:t> Git, remove the .git folder and retain all project files</a:t>
          </a:r>
        </a:p>
      </dgm:t>
    </dgm:pt>
    <dgm:pt modelId="{29382FC4-2CB8-4EFA-B066-8A19A30FA925}" type="parTrans" cxnId="{830EC93F-D630-46B9-9F2A-64BB8867BF33}">
      <dgm:prSet/>
      <dgm:spPr/>
      <dgm:t>
        <a:bodyPr/>
        <a:lstStyle/>
        <a:p>
          <a:endParaRPr lang="en-US" sz="2000"/>
        </a:p>
      </dgm:t>
    </dgm:pt>
    <dgm:pt modelId="{4AA6F4DD-2EC0-4109-A642-F3CA53BD1E72}" type="sibTrans" cxnId="{830EC93F-D630-46B9-9F2A-64BB8867BF33}">
      <dgm:prSet/>
      <dgm:spPr/>
      <dgm:t>
        <a:bodyPr/>
        <a:lstStyle/>
        <a:p>
          <a:endParaRPr lang="en-US" sz="2000"/>
        </a:p>
      </dgm:t>
    </dgm:pt>
    <dgm:pt modelId="{D2D585F9-43AF-413F-B77F-99CFCF273800}" type="pres">
      <dgm:prSet presAssocID="{33945292-3C36-4BD7-B204-EF83858C1F4D}" presName="Name0" presStyleCnt="0">
        <dgm:presLayoutVars>
          <dgm:dir/>
          <dgm:resizeHandles val="exact"/>
        </dgm:presLayoutVars>
      </dgm:prSet>
      <dgm:spPr/>
    </dgm:pt>
    <dgm:pt modelId="{011249CE-66BE-4BF0-A60A-7190381FC89B}" type="pres">
      <dgm:prSet presAssocID="{36B34E8B-7D9E-47A2-ADA5-658B4C6F7DE9}" presName="composite" presStyleCnt="0"/>
      <dgm:spPr/>
    </dgm:pt>
    <dgm:pt modelId="{57A105F2-FF6A-4B88-AE66-9AED1CAE22C3}" type="pres">
      <dgm:prSet presAssocID="{36B34E8B-7D9E-47A2-ADA5-658B4C6F7DE9}" presName="imagSh" presStyleLbl="bgImgPlac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tabase"/>
        </a:ext>
      </dgm:extLst>
    </dgm:pt>
    <dgm:pt modelId="{5BD69B8C-A6B2-4788-A924-F8D4CBBC195A}" type="pres">
      <dgm:prSet presAssocID="{36B34E8B-7D9E-47A2-ADA5-658B4C6F7DE9}" presName="txNode" presStyleLbl="node1" presStyleIdx="0" presStyleCnt="4" custLinFactNeighborX="12979" custLinFactNeighborY="-667">
        <dgm:presLayoutVars>
          <dgm:bulletEnabled val="1"/>
        </dgm:presLayoutVars>
      </dgm:prSet>
      <dgm:spPr/>
    </dgm:pt>
    <dgm:pt modelId="{547C5638-2202-4245-96B0-30285B39634F}" type="pres">
      <dgm:prSet presAssocID="{B9EE62F7-2501-4493-BE46-BA71596871C6}" presName="sibTrans" presStyleLbl="sibTrans2D1" presStyleIdx="0" presStyleCnt="3"/>
      <dgm:spPr/>
    </dgm:pt>
    <dgm:pt modelId="{86C296D8-618E-4669-8763-6B9CCD9E98E5}" type="pres">
      <dgm:prSet presAssocID="{B9EE62F7-2501-4493-BE46-BA71596871C6}" presName="connTx" presStyleLbl="sibTrans2D1" presStyleIdx="0" presStyleCnt="3"/>
      <dgm:spPr/>
    </dgm:pt>
    <dgm:pt modelId="{D391C3AD-D332-4C07-A46C-76DE03DB93A2}" type="pres">
      <dgm:prSet presAssocID="{08D572F8-9E66-4E68-9806-0C71A6267138}" presName="composite" presStyleCnt="0"/>
      <dgm:spPr/>
    </dgm:pt>
    <dgm:pt modelId="{8B4C0564-E831-464F-9F45-F667F88E1399}" type="pres">
      <dgm:prSet presAssocID="{08D572F8-9E66-4E68-9806-0C71A6267138}" presName="imagSh" presStyleLbl="bgImgPlac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pt>
    <dgm:pt modelId="{F116E577-92C8-4AF6-B5C2-197F071FFF70}" type="pres">
      <dgm:prSet presAssocID="{08D572F8-9E66-4E68-9806-0C71A6267138}" presName="txNode" presStyleLbl="node1" presStyleIdx="1" presStyleCnt="4" custLinFactNeighborX="12979" custLinFactNeighborY="-667">
        <dgm:presLayoutVars>
          <dgm:bulletEnabled val="1"/>
        </dgm:presLayoutVars>
      </dgm:prSet>
      <dgm:spPr/>
    </dgm:pt>
    <dgm:pt modelId="{455EBD83-40E2-4129-9349-1B7A1FDC999D}" type="pres">
      <dgm:prSet presAssocID="{01D707F6-F06F-4A2C-92DD-58E68F4ABEED}" presName="sibTrans" presStyleLbl="sibTrans2D1" presStyleIdx="1" presStyleCnt="3"/>
      <dgm:spPr/>
    </dgm:pt>
    <dgm:pt modelId="{7BC4048C-78BB-4AA2-B1EB-8D20D72BFC78}" type="pres">
      <dgm:prSet presAssocID="{01D707F6-F06F-4A2C-92DD-58E68F4ABEED}" presName="connTx" presStyleLbl="sibTrans2D1" presStyleIdx="1" presStyleCnt="3"/>
      <dgm:spPr/>
    </dgm:pt>
    <dgm:pt modelId="{07A4E061-4D7D-4084-AA87-A69CFA8B3BB8}" type="pres">
      <dgm:prSet presAssocID="{87491B60-CE87-4964-AA1F-0461FCE315AC}" presName="composite" presStyleCnt="0"/>
      <dgm:spPr/>
    </dgm:pt>
    <dgm:pt modelId="{F7CD7CFD-F047-4BD3-A234-C7FAE97E9DC7}" type="pres">
      <dgm:prSet presAssocID="{87491B60-CE87-4964-AA1F-0461FCE315AC}" presName="imagSh" presStyleLbl="bgImgPlac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cument"/>
        </a:ext>
      </dgm:extLst>
    </dgm:pt>
    <dgm:pt modelId="{F19170EA-3830-4B2B-9C77-8DFB2A5FB9C6}" type="pres">
      <dgm:prSet presAssocID="{87491B60-CE87-4964-AA1F-0461FCE315AC}" presName="txNode" presStyleLbl="node1" presStyleIdx="2" presStyleCnt="4" custLinFactNeighborX="12979" custLinFactNeighborY="-667">
        <dgm:presLayoutVars>
          <dgm:bulletEnabled val="1"/>
        </dgm:presLayoutVars>
      </dgm:prSet>
      <dgm:spPr/>
    </dgm:pt>
    <dgm:pt modelId="{EB483C2D-F794-4C1D-885B-93AB245BD9AD}" type="pres">
      <dgm:prSet presAssocID="{BF1B7F1E-C9AE-4E5A-B62E-DFDB1C01195F}" presName="sibTrans" presStyleLbl="sibTrans2D1" presStyleIdx="2" presStyleCnt="3"/>
      <dgm:spPr/>
    </dgm:pt>
    <dgm:pt modelId="{0080C3ED-DD2F-4B25-8D8A-0E5E3DD8E572}" type="pres">
      <dgm:prSet presAssocID="{BF1B7F1E-C9AE-4E5A-B62E-DFDB1C01195F}" presName="connTx" presStyleLbl="sibTrans2D1" presStyleIdx="2" presStyleCnt="3"/>
      <dgm:spPr/>
    </dgm:pt>
    <dgm:pt modelId="{F16BC8FB-2C67-48F2-B716-27B3968EB1DA}" type="pres">
      <dgm:prSet presAssocID="{6510B392-E06C-45CE-8C57-99D908CB6F67}" presName="composite" presStyleCnt="0"/>
      <dgm:spPr/>
    </dgm:pt>
    <dgm:pt modelId="{FB9BFBD7-69B1-43D7-9822-C1E28470EBA1}" type="pres">
      <dgm:prSet presAssocID="{6510B392-E06C-45CE-8C57-99D908CB6F67}" presName="imagSh" presStyleLbl="bgImgPlac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hredder"/>
        </a:ext>
      </dgm:extLst>
    </dgm:pt>
    <dgm:pt modelId="{B2945834-A62B-4C38-979A-15E02DE0C93E}" type="pres">
      <dgm:prSet presAssocID="{6510B392-E06C-45CE-8C57-99D908CB6F67}" presName="txNode" presStyleLbl="node1" presStyleIdx="3" presStyleCnt="4">
        <dgm:presLayoutVars>
          <dgm:bulletEnabled val="1"/>
        </dgm:presLayoutVars>
      </dgm:prSet>
      <dgm:spPr/>
    </dgm:pt>
  </dgm:ptLst>
  <dgm:cxnLst>
    <dgm:cxn modelId="{EB8EA830-966A-4148-85CC-C16CDD3E2074}" type="presOf" srcId="{6510B392-E06C-45CE-8C57-99D908CB6F67}" destId="{B2945834-A62B-4C38-979A-15E02DE0C93E}" srcOrd="0" destOrd="0" presId="urn:microsoft.com/office/officeart/2005/8/layout/hProcess10"/>
    <dgm:cxn modelId="{1A11833A-2C12-47E0-9D0A-F35D22C1B027}" type="presOf" srcId="{B9EE62F7-2501-4493-BE46-BA71596871C6}" destId="{547C5638-2202-4245-96B0-30285B39634F}" srcOrd="0" destOrd="0" presId="urn:microsoft.com/office/officeart/2005/8/layout/hProcess10"/>
    <dgm:cxn modelId="{830EC93F-D630-46B9-9F2A-64BB8867BF33}" srcId="{33945292-3C36-4BD7-B204-EF83858C1F4D}" destId="{6510B392-E06C-45CE-8C57-99D908CB6F67}" srcOrd="3" destOrd="0" parTransId="{29382FC4-2CB8-4EFA-B066-8A19A30FA925}" sibTransId="{4AA6F4DD-2EC0-4109-A642-F3CA53BD1E72}"/>
    <dgm:cxn modelId="{F151C45B-6C8F-42F5-9D6D-4A10463A3432}" type="presOf" srcId="{87491B60-CE87-4964-AA1F-0461FCE315AC}" destId="{F19170EA-3830-4B2B-9C77-8DFB2A5FB9C6}" srcOrd="0" destOrd="0" presId="urn:microsoft.com/office/officeart/2005/8/layout/hProcess10"/>
    <dgm:cxn modelId="{971D6E43-998B-498F-8F9E-9E4FA5D0842B}" type="presOf" srcId="{33945292-3C36-4BD7-B204-EF83858C1F4D}" destId="{D2D585F9-43AF-413F-B77F-99CFCF273800}" srcOrd="0" destOrd="0" presId="urn:microsoft.com/office/officeart/2005/8/layout/hProcess10"/>
    <dgm:cxn modelId="{7E1CDD7E-E3E9-416D-B65C-3B229B1D6CBE}" type="presOf" srcId="{BF1B7F1E-C9AE-4E5A-B62E-DFDB1C01195F}" destId="{EB483C2D-F794-4C1D-885B-93AB245BD9AD}" srcOrd="0" destOrd="0" presId="urn:microsoft.com/office/officeart/2005/8/layout/hProcess10"/>
    <dgm:cxn modelId="{4B2E748A-BCFB-4DCA-83CD-0DC43625BECB}" srcId="{33945292-3C36-4BD7-B204-EF83858C1F4D}" destId="{36B34E8B-7D9E-47A2-ADA5-658B4C6F7DE9}" srcOrd="0" destOrd="0" parTransId="{D5EBB4A2-BA98-44E5-A568-E711B9F3DD6B}" sibTransId="{B9EE62F7-2501-4493-BE46-BA71596871C6}"/>
    <dgm:cxn modelId="{33B70793-7321-4763-90CA-141D2E20D40A}" type="presOf" srcId="{01D707F6-F06F-4A2C-92DD-58E68F4ABEED}" destId="{455EBD83-40E2-4129-9349-1B7A1FDC999D}" srcOrd="0" destOrd="0" presId="urn:microsoft.com/office/officeart/2005/8/layout/hProcess10"/>
    <dgm:cxn modelId="{5ABEDCAE-F6A0-47BF-9C8D-E33A0D3B982D}" srcId="{33945292-3C36-4BD7-B204-EF83858C1F4D}" destId="{08D572F8-9E66-4E68-9806-0C71A6267138}" srcOrd="1" destOrd="0" parTransId="{91F37ACB-387E-442C-8050-C7A33E07C2BF}" sibTransId="{01D707F6-F06F-4A2C-92DD-58E68F4ABEED}"/>
    <dgm:cxn modelId="{DED10BAF-E11E-4540-B4E8-DCB7D4533E0D}" type="presOf" srcId="{01D707F6-F06F-4A2C-92DD-58E68F4ABEED}" destId="{7BC4048C-78BB-4AA2-B1EB-8D20D72BFC78}" srcOrd="1" destOrd="0" presId="urn:microsoft.com/office/officeart/2005/8/layout/hProcess10"/>
    <dgm:cxn modelId="{3FA5B8AF-1C85-4AC0-827C-5A5E6156D167}" srcId="{33945292-3C36-4BD7-B204-EF83858C1F4D}" destId="{87491B60-CE87-4964-AA1F-0461FCE315AC}" srcOrd="2" destOrd="0" parTransId="{79E47982-B42A-4DA8-80ED-03FECC82A28D}" sibTransId="{BF1B7F1E-C9AE-4E5A-B62E-DFDB1C01195F}"/>
    <dgm:cxn modelId="{8D38C7D0-5936-4F12-BA2B-38363D3C235E}" type="presOf" srcId="{B9EE62F7-2501-4493-BE46-BA71596871C6}" destId="{86C296D8-618E-4669-8763-6B9CCD9E98E5}" srcOrd="1" destOrd="0" presId="urn:microsoft.com/office/officeart/2005/8/layout/hProcess10"/>
    <dgm:cxn modelId="{CE4172D7-B6AA-4353-9269-F33A1C70D63E}" type="presOf" srcId="{BF1B7F1E-C9AE-4E5A-B62E-DFDB1C01195F}" destId="{0080C3ED-DD2F-4B25-8D8A-0E5E3DD8E572}" srcOrd="1" destOrd="0" presId="urn:microsoft.com/office/officeart/2005/8/layout/hProcess10"/>
    <dgm:cxn modelId="{DFCBA4EA-B563-4D6E-857C-2E9C56504639}" type="presOf" srcId="{08D572F8-9E66-4E68-9806-0C71A6267138}" destId="{F116E577-92C8-4AF6-B5C2-197F071FFF70}" srcOrd="0" destOrd="0" presId="urn:microsoft.com/office/officeart/2005/8/layout/hProcess10"/>
    <dgm:cxn modelId="{F62BC9FB-DA3E-4127-963A-BC17409EC895}" type="presOf" srcId="{36B34E8B-7D9E-47A2-ADA5-658B4C6F7DE9}" destId="{5BD69B8C-A6B2-4788-A924-F8D4CBBC195A}" srcOrd="0" destOrd="0" presId="urn:microsoft.com/office/officeart/2005/8/layout/hProcess10"/>
    <dgm:cxn modelId="{49DA5942-6FDF-490A-A39D-2F5F62CA57B8}" type="presParOf" srcId="{D2D585F9-43AF-413F-B77F-99CFCF273800}" destId="{011249CE-66BE-4BF0-A60A-7190381FC89B}" srcOrd="0" destOrd="0" presId="urn:microsoft.com/office/officeart/2005/8/layout/hProcess10"/>
    <dgm:cxn modelId="{C7735E01-A0B1-4E52-8892-9C63DF12C9C3}" type="presParOf" srcId="{011249CE-66BE-4BF0-A60A-7190381FC89B}" destId="{57A105F2-FF6A-4B88-AE66-9AED1CAE22C3}" srcOrd="0" destOrd="0" presId="urn:microsoft.com/office/officeart/2005/8/layout/hProcess10"/>
    <dgm:cxn modelId="{D91E324D-C342-4332-B420-600EB51A2B2E}" type="presParOf" srcId="{011249CE-66BE-4BF0-A60A-7190381FC89B}" destId="{5BD69B8C-A6B2-4788-A924-F8D4CBBC195A}" srcOrd="1" destOrd="0" presId="urn:microsoft.com/office/officeart/2005/8/layout/hProcess10"/>
    <dgm:cxn modelId="{382E6EDE-9555-4E56-8BB3-F1C701E4532A}" type="presParOf" srcId="{D2D585F9-43AF-413F-B77F-99CFCF273800}" destId="{547C5638-2202-4245-96B0-30285B39634F}" srcOrd="1" destOrd="0" presId="urn:microsoft.com/office/officeart/2005/8/layout/hProcess10"/>
    <dgm:cxn modelId="{C472745C-4C75-4C71-95CF-6AF905581599}" type="presParOf" srcId="{547C5638-2202-4245-96B0-30285B39634F}" destId="{86C296D8-618E-4669-8763-6B9CCD9E98E5}" srcOrd="0" destOrd="0" presId="urn:microsoft.com/office/officeart/2005/8/layout/hProcess10"/>
    <dgm:cxn modelId="{C0620292-E034-4802-B802-5C7F29117D30}" type="presParOf" srcId="{D2D585F9-43AF-413F-B77F-99CFCF273800}" destId="{D391C3AD-D332-4C07-A46C-76DE03DB93A2}" srcOrd="2" destOrd="0" presId="urn:microsoft.com/office/officeart/2005/8/layout/hProcess10"/>
    <dgm:cxn modelId="{696FAF3D-25D2-4604-85D1-180E0DA993F9}" type="presParOf" srcId="{D391C3AD-D332-4C07-A46C-76DE03DB93A2}" destId="{8B4C0564-E831-464F-9F45-F667F88E1399}" srcOrd="0" destOrd="0" presId="urn:microsoft.com/office/officeart/2005/8/layout/hProcess10"/>
    <dgm:cxn modelId="{CF3A2D69-2847-4796-A05E-49E730CB7D11}" type="presParOf" srcId="{D391C3AD-D332-4C07-A46C-76DE03DB93A2}" destId="{F116E577-92C8-4AF6-B5C2-197F071FFF70}" srcOrd="1" destOrd="0" presId="urn:microsoft.com/office/officeart/2005/8/layout/hProcess10"/>
    <dgm:cxn modelId="{ADCE28F0-F7CC-45BE-937B-371ABB5FED0E}" type="presParOf" srcId="{D2D585F9-43AF-413F-B77F-99CFCF273800}" destId="{455EBD83-40E2-4129-9349-1B7A1FDC999D}" srcOrd="3" destOrd="0" presId="urn:microsoft.com/office/officeart/2005/8/layout/hProcess10"/>
    <dgm:cxn modelId="{6E1267BC-3C87-4C08-A930-B36C279D9D5F}" type="presParOf" srcId="{455EBD83-40E2-4129-9349-1B7A1FDC999D}" destId="{7BC4048C-78BB-4AA2-B1EB-8D20D72BFC78}" srcOrd="0" destOrd="0" presId="urn:microsoft.com/office/officeart/2005/8/layout/hProcess10"/>
    <dgm:cxn modelId="{1B904600-C59F-4B6B-9D3D-6116FB8FD419}" type="presParOf" srcId="{D2D585F9-43AF-413F-B77F-99CFCF273800}" destId="{07A4E061-4D7D-4084-AA87-A69CFA8B3BB8}" srcOrd="4" destOrd="0" presId="urn:microsoft.com/office/officeart/2005/8/layout/hProcess10"/>
    <dgm:cxn modelId="{28E5D9E2-E1F9-4B19-84C5-12F958C48BC3}" type="presParOf" srcId="{07A4E061-4D7D-4084-AA87-A69CFA8B3BB8}" destId="{F7CD7CFD-F047-4BD3-A234-C7FAE97E9DC7}" srcOrd="0" destOrd="0" presId="urn:microsoft.com/office/officeart/2005/8/layout/hProcess10"/>
    <dgm:cxn modelId="{961D50B0-5F37-4018-80D7-B1AF69488E80}" type="presParOf" srcId="{07A4E061-4D7D-4084-AA87-A69CFA8B3BB8}" destId="{F19170EA-3830-4B2B-9C77-8DFB2A5FB9C6}" srcOrd="1" destOrd="0" presId="urn:microsoft.com/office/officeart/2005/8/layout/hProcess10"/>
    <dgm:cxn modelId="{859F6C95-E4D1-466F-A8A0-99A1320F5AD6}" type="presParOf" srcId="{D2D585F9-43AF-413F-B77F-99CFCF273800}" destId="{EB483C2D-F794-4C1D-885B-93AB245BD9AD}" srcOrd="5" destOrd="0" presId="urn:microsoft.com/office/officeart/2005/8/layout/hProcess10"/>
    <dgm:cxn modelId="{F70563F7-EC3E-4A2B-BA3B-2325FB2286C7}" type="presParOf" srcId="{EB483C2D-F794-4C1D-885B-93AB245BD9AD}" destId="{0080C3ED-DD2F-4B25-8D8A-0E5E3DD8E572}" srcOrd="0" destOrd="0" presId="urn:microsoft.com/office/officeart/2005/8/layout/hProcess10"/>
    <dgm:cxn modelId="{8A87442A-4872-48D9-8749-9E4CF5E40916}" type="presParOf" srcId="{D2D585F9-43AF-413F-B77F-99CFCF273800}" destId="{F16BC8FB-2C67-48F2-B716-27B3968EB1DA}" srcOrd="6" destOrd="0" presId="urn:microsoft.com/office/officeart/2005/8/layout/hProcess10"/>
    <dgm:cxn modelId="{CD12D2C4-0267-466A-9075-CD1B739033CE}" type="presParOf" srcId="{F16BC8FB-2C67-48F2-B716-27B3968EB1DA}" destId="{FB9BFBD7-69B1-43D7-9822-C1E28470EBA1}" srcOrd="0" destOrd="0" presId="urn:microsoft.com/office/officeart/2005/8/layout/hProcess10"/>
    <dgm:cxn modelId="{7EDDFD43-A1CF-487D-9372-DBC319F4AA78}" type="presParOf" srcId="{F16BC8FB-2C67-48F2-B716-27B3968EB1DA}" destId="{B2945834-A62B-4C38-979A-15E02DE0C93E}" srcOrd="1" destOrd="0" presId="urn:microsoft.com/office/officeart/2005/8/layout/hProcess10"/>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27E987A-AB31-42DB-B71A-6A069CA83DA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38FEF11-6FBA-4998-9C0F-5EE65CD7A25B}">
      <dgm:prSet custT="1"/>
      <dgm:spPr/>
      <dgm:t>
        <a:bodyPr/>
        <a:lstStyle/>
        <a:p>
          <a:r>
            <a:rPr lang="en-US" sz="2400" baseline="0"/>
            <a:t>Files are created / edited in </a:t>
          </a:r>
          <a:r>
            <a:rPr lang="en-US" sz="2400" b="1" baseline="0"/>
            <a:t>workspace</a:t>
          </a:r>
          <a:endParaRPr lang="en-US" sz="2400" b="1"/>
        </a:p>
      </dgm:t>
    </dgm:pt>
    <dgm:pt modelId="{2D7B1D29-33F1-4CD0-9DD8-0DC9F995F372}" type="parTrans" cxnId="{7AB50487-8B02-478C-8CCF-1AF26C7AAB05}">
      <dgm:prSet/>
      <dgm:spPr/>
      <dgm:t>
        <a:bodyPr/>
        <a:lstStyle/>
        <a:p>
          <a:endParaRPr lang="en-US" sz="2400"/>
        </a:p>
      </dgm:t>
    </dgm:pt>
    <dgm:pt modelId="{862D9C86-D557-4538-9B2E-2682D5A14379}" type="sibTrans" cxnId="{7AB50487-8B02-478C-8CCF-1AF26C7AAB05}">
      <dgm:prSet/>
      <dgm:spPr/>
      <dgm:t>
        <a:bodyPr/>
        <a:lstStyle/>
        <a:p>
          <a:endParaRPr lang="en-US" sz="2400"/>
        </a:p>
      </dgm:t>
    </dgm:pt>
    <dgm:pt modelId="{206CB23E-58A1-4A7C-90E3-E8AA3C8F5038}">
      <dgm:prSet custT="1"/>
      <dgm:spPr/>
      <dgm:t>
        <a:bodyPr/>
        <a:lstStyle/>
        <a:p>
          <a:r>
            <a:rPr lang="en-US" sz="2400" baseline="0"/>
            <a:t>To track a file, it first must be added to the </a:t>
          </a:r>
          <a:r>
            <a:rPr lang="en-US" sz="2400" b="1" baseline="0"/>
            <a:t>staging</a:t>
          </a:r>
          <a:r>
            <a:rPr lang="en-US" sz="2400" baseline="0"/>
            <a:t> area</a:t>
          </a:r>
          <a:endParaRPr lang="en-US" sz="2400"/>
        </a:p>
      </dgm:t>
    </dgm:pt>
    <dgm:pt modelId="{35914504-E2B2-4AE8-88B8-3FA370DDE153}" type="parTrans" cxnId="{B4DC6765-1A92-4ED5-BCAF-073B8FD3F568}">
      <dgm:prSet/>
      <dgm:spPr/>
      <dgm:t>
        <a:bodyPr/>
        <a:lstStyle/>
        <a:p>
          <a:endParaRPr lang="en-US" sz="2400"/>
        </a:p>
      </dgm:t>
    </dgm:pt>
    <dgm:pt modelId="{3457B299-5D73-405F-96AC-C241102A2185}" type="sibTrans" cxnId="{B4DC6765-1A92-4ED5-BCAF-073B8FD3F568}">
      <dgm:prSet/>
      <dgm:spPr/>
      <dgm:t>
        <a:bodyPr/>
        <a:lstStyle/>
        <a:p>
          <a:endParaRPr lang="en-US" sz="2400"/>
        </a:p>
      </dgm:t>
    </dgm:pt>
    <dgm:pt modelId="{8688A97B-5160-4B5C-94CE-EB2B72943C0F}">
      <dgm:prSet custT="1"/>
      <dgm:spPr/>
      <dgm:t>
        <a:bodyPr/>
        <a:lstStyle/>
        <a:p>
          <a:r>
            <a:rPr lang="en-US" sz="2400" baseline="0"/>
            <a:t>Staged files can then be </a:t>
          </a:r>
          <a:r>
            <a:rPr lang="en-US" sz="2400" b="1" baseline="0"/>
            <a:t>committed</a:t>
          </a:r>
          <a:r>
            <a:rPr lang="en-US" sz="2400" baseline="0"/>
            <a:t> (snapshot of current staging area)</a:t>
          </a:r>
          <a:endParaRPr lang="en-US" sz="2400"/>
        </a:p>
      </dgm:t>
    </dgm:pt>
    <dgm:pt modelId="{A22582C8-C187-4D41-A9D6-670097652381}" type="parTrans" cxnId="{08BC6C47-2826-457B-A279-BD973F86E2DF}">
      <dgm:prSet/>
      <dgm:spPr/>
      <dgm:t>
        <a:bodyPr/>
        <a:lstStyle/>
        <a:p>
          <a:endParaRPr lang="en-US" sz="2400"/>
        </a:p>
      </dgm:t>
    </dgm:pt>
    <dgm:pt modelId="{55D65C1C-8195-428F-B9B9-92C3C3F71674}" type="sibTrans" cxnId="{08BC6C47-2826-457B-A279-BD973F86E2DF}">
      <dgm:prSet/>
      <dgm:spPr/>
      <dgm:t>
        <a:bodyPr/>
        <a:lstStyle/>
        <a:p>
          <a:endParaRPr lang="en-US" sz="2400"/>
        </a:p>
      </dgm:t>
    </dgm:pt>
    <dgm:pt modelId="{DF5C09E8-1B5E-4D89-BB03-8AB8E5CAA715}" type="pres">
      <dgm:prSet presAssocID="{327E987A-AB31-42DB-B71A-6A069CA83DA3}" presName="vert0" presStyleCnt="0">
        <dgm:presLayoutVars>
          <dgm:dir/>
          <dgm:animOne val="branch"/>
          <dgm:animLvl val="lvl"/>
        </dgm:presLayoutVars>
      </dgm:prSet>
      <dgm:spPr/>
    </dgm:pt>
    <dgm:pt modelId="{3F5BA6B6-5C89-4F89-AB0A-1CAE6D567F9A}" type="pres">
      <dgm:prSet presAssocID="{D38FEF11-6FBA-4998-9C0F-5EE65CD7A25B}" presName="thickLine" presStyleLbl="alignNode1" presStyleIdx="0" presStyleCnt="3"/>
      <dgm:spPr/>
    </dgm:pt>
    <dgm:pt modelId="{CC876C5A-2D0F-4AB9-9AEB-E2A45017A582}" type="pres">
      <dgm:prSet presAssocID="{D38FEF11-6FBA-4998-9C0F-5EE65CD7A25B}" presName="horz1" presStyleCnt="0"/>
      <dgm:spPr/>
    </dgm:pt>
    <dgm:pt modelId="{E9ECED06-CBA6-4C81-AC66-22449162FB64}" type="pres">
      <dgm:prSet presAssocID="{D38FEF11-6FBA-4998-9C0F-5EE65CD7A25B}" presName="tx1" presStyleLbl="revTx" presStyleIdx="0" presStyleCnt="3"/>
      <dgm:spPr/>
    </dgm:pt>
    <dgm:pt modelId="{3C27502C-293F-441C-BD79-B8CCED7D374D}" type="pres">
      <dgm:prSet presAssocID="{D38FEF11-6FBA-4998-9C0F-5EE65CD7A25B}" presName="vert1" presStyleCnt="0"/>
      <dgm:spPr/>
    </dgm:pt>
    <dgm:pt modelId="{AA74A982-E11E-4E11-8B34-D4B95327D598}" type="pres">
      <dgm:prSet presAssocID="{206CB23E-58A1-4A7C-90E3-E8AA3C8F5038}" presName="thickLine" presStyleLbl="alignNode1" presStyleIdx="1" presStyleCnt="3"/>
      <dgm:spPr/>
    </dgm:pt>
    <dgm:pt modelId="{095C336D-C917-48EE-B659-6C0C7428A193}" type="pres">
      <dgm:prSet presAssocID="{206CB23E-58A1-4A7C-90E3-E8AA3C8F5038}" presName="horz1" presStyleCnt="0"/>
      <dgm:spPr/>
    </dgm:pt>
    <dgm:pt modelId="{EFCB22C0-9696-40C2-A9F5-CB2910D1E719}" type="pres">
      <dgm:prSet presAssocID="{206CB23E-58A1-4A7C-90E3-E8AA3C8F5038}" presName="tx1" presStyleLbl="revTx" presStyleIdx="1" presStyleCnt="3"/>
      <dgm:spPr/>
    </dgm:pt>
    <dgm:pt modelId="{8C7E4A0E-DC51-4D37-9569-1789AA621DA2}" type="pres">
      <dgm:prSet presAssocID="{206CB23E-58A1-4A7C-90E3-E8AA3C8F5038}" presName="vert1" presStyleCnt="0"/>
      <dgm:spPr/>
    </dgm:pt>
    <dgm:pt modelId="{3FBC3CB7-E7CF-4BBF-9AE7-14C9952C704C}" type="pres">
      <dgm:prSet presAssocID="{8688A97B-5160-4B5C-94CE-EB2B72943C0F}" presName="thickLine" presStyleLbl="alignNode1" presStyleIdx="2" presStyleCnt="3"/>
      <dgm:spPr/>
    </dgm:pt>
    <dgm:pt modelId="{A0232502-F16A-412E-A15B-7181AEBDC505}" type="pres">
      <dgm:prSet presAssocID="{8688A97B-5160-4B5C-94CE-EB2B72943C0F}" presName="horz1" presStyleCnt="0"/>
      <dgm:spPr/>
    </dgm:pt>
    <dgm:pt modelId="{1C81FDAC-113A-4052-A648-77077E515C45}" type="pres">
      <dgm:prSet presAssocID="{8688A97B-5160-4B5C-94CE-EB2B72943C0F}" presName="tx1" presStyleLbl="revTx" presStyleIdx="2" presStyleCnt="3"/>
      <dgm:spPr/>
    </dgm:pt>
    <dgm:pt modelId="{84B816B7-5B18-415D-AE62-399FE42A947A}" type="pres">
      <dgm:prSet presAssocID="{8688A97B-5160-4B5C-94CE-EB2B72943C0F}" presName="vert1" presStyleCnt="0"/>
      <dgm:spPr/>
    </dgm:pt>
  </dgm:ptLst>
  <dgm:cxnLst>
    <dgm:cxn modelId="{C52B9F41-A6E1-48F8-B170-E876F3AFA076}" type="presOf" srcId="{D38FEF11-6FBA-4998-9C0F-5EE65CD7A25B}" destId="{E9ECED06-CBA6-4C81-AC66-22449162FB64}" srcOrd="0" destOrd="0" presId="urn:microsoft.com/office/officeart/2008/layout/LinedList"/>
    <dgm:cxn modelId="{B4DC6765-1A92-4ED5-BCAF-073B8FD3F568}" srcId="{327E987A-AB31-42DB-B71A-6A069CA83DA3}" destId="{206CB23E-58A1-4A7C-90E3-E8AA3C8F5038}" srcOrd="1" destOrd="0" parTransId="{35914504-E2B2-4AE8-88B8-3FA370DDE153}" sibTransId="{3457B299-5D73-405F-96AC-C241102A2185}"/>
    <dgm:cxn modelId="{08BC6C47-2826-457B-A279-BD973F86E2DF}" srcId="{327E987A-AB31-42DB-B71A-6A069CA83DA3}" destId="{8688A97B-5160-4B5C-94CE-EB2B72943C0F}" srcOrd="2" destOrd="0" parTransId="{A22582C8-C187-4D41-A9D6-670097652381}" sibTransId="{55D65C1C-8195-428F-B9B9-92C3C3F71674}"/>
    <dgm:cxn modelId="{7AB50487-8B02-478C-8CCF-1AF26C7AAB05}" srcId="{327E987A-AB31-42DB-B71A-6A069CA83DA3}" destId="{D38FEF11-6FBA-4998-9C0F-5EE65CD7A25B}" srcOrd="0" destOrd="0" parTransId="{2D7B1D29-33F1-4CD0-9DD8-0DC9F995F372}" sibTransId="{862D9C86-D557-4538-9B2E-2682D5A14379}"/>
    <dgm:cxn modelId="{9DCDB293-9E8A-4337-8552-068AD9971FEB}" type="presOf" srcId="{327E987A-AB31-42DB-B71A-6A069CA83DA3}" destId="{DF5C09E8-1B5E-4D89-BB03-8AB8E5CAA715}" srcOrd="0" destOrd="0" presId="urn:microsoft.com/office/officeart/2008/layout/LinedList"/>
    <dgm:cxn modelId="{BE8117DB-9855-4339-9FB9-C2FCC357D3EF}" type="presOf" srcId="{206CB23E-58A1-4A7C-90E3-E8AA3C8F5038}" destId="{EFCB22C0-9696-40C2-A9F5-CB2910D1E719}" srcOrd="0" destOrd="0" presId="urn:microsoft.com/office/officeart/2008/layout/LinedList"/>
    <dgm:cxn modelId="{0B588BFF-D287-405F-A094-CAA37E7AEFFE}" type="presOf" srcId="{8688A97B-5160-4B5C-94CE-EB2B72943C0F}" destId="{1C81FDAC-113A-4052-A648-77077E515C45}" srcOrd="0" destOrd="0" presId="urn:microsoft.com/office/officeart/2008/layout/LinedList"/>
    <dgm:cxn modelId="{80425570-E9AF-4A71-826B-82C307D83583}" type="presParOf" srcId="{DF5C09E8-1B5E-4D89-BB03-8AB8E5CAA715}" destId="{3F5BA6B6-5C89-4F89-AB0A-1CAE6D567F9A}" srcOrd="0" destOrd="0" presId="urn:microsoft.com/office/officeart/2008/layout/LinedList"/>
    <dgm:cxn modelId="{2CBD3C8A-6AC2-4F94-BBD1-C416EC7949B3}" type="presParOf" srcId="{DF5C09E8-1B5E-4D89-BB03-8AB8E5CAA715}" destId="{CC876C5A-2D0F-4AB9-9AEB-E2A45017A582}" srcOrd="1" destOrd="0" presId="urn:microsoft.com/office/officeart/2008/layout/LinedList"/>
    <dgm:cxn modelId="{A3764A7E-770F-4559-BFFA-0366E561C5CF}" type="presParOf" srcId="{CC876C5A-2D0F-4AB9-9AEB-E2A45017A582}" destId="{E9ECED06-CBA6-4C81-AC66-22449162FB64}" srcOrd="0" destOrd="0" presId="urn:microsoft.com/office/officeart/2008/layout/LinedList"/>
    <dgm:cxn modelId="{973BBFBE-727F-4250-BD21-2B41201C7894}" type="presParOf" srcId="{CC876C5A-2D0F-4AB9-9AEB-E2A45017A582}" destId="{3C27502C-293F-441C-BD79-B8CCED7D374D}" srcOrd="1" destOrd="0" presId="urn:microsoft.com/office/officeart/2008/layout/LinedList"/>
    <dgm:cxn modelId="{319CA9D2-FB1C-4182-A092-050F786C7F46}" type="presParOf" srcId="{DF5C09E8-1B5E-4D89-BB03-8AB8E5CAA715}" destId="{AA74A982-E11E-4E11-8B34-D4B95327D598}" srcOrd="2" destOrd="0" presId="urn:microsoft.com/office/officeart/2008/layout/LinedList"/>
    <dgm:cxn modelId="{86C33D08-4066-4B7E-A3C1-E25E61CCF9C6}" type="presParOf" srcId="{DF5C09E8-1B5E-4D89-BB03-8AB8E5CAA715}" destId="{095C336D-C917-48EE-B659-6C0C7428A193}" srcOrd="3" destOrd="0" presId="urn:microsoft.com/office/officeart/2008/layout/LinedList"/>
    <dgm:cxn modelId="{E0AFF955-4DA9-40F5-BECE-23471BF03A4E}" type="presParOf" srcId="{095C336D-C917-48EE-B659-6C0C7428A193}" destId="{EFCB22C0-9696-40C2-A9F5-CB2910D1E719}" srcOrd="0" destOrd="0" presId="urn:microsoft.com/office/officeart/2008/layout/LinedList"/>
    <dgm:cxn modelId="{DF03EF72-22E3-4F3B-B6E3-AE789142DBA2}" type="presParOf" srcId="{095C336D-C917-48EE-B659-6C0C7428A193}" destId="{8C7E4A0E-DC51-4D37-9569-1789AA621DA2}" srcOrd="1" destOrd="0" presId="urn:microsoft.com/office/officeart/2008/layout/LinedList"/>
    <dgm:cxn modelId="{9B68B43F-39F5-4464-BB8B-BBC9319AEDB6}" type="presParOf" srcId="{DF5C09E8-1B5E-4D89-BB03-8AB8E5CAA715}" destId="{3FBC3CB7-E7CF-4BBF-9AE7-14C9952C704C}" srcOrd="4" destOrd="0" presId="urn:microsoft.com/office/officeart/2008/layout/LinedList"/>
    <dgm:cxn modelId="{15396679-8FAD-4225-8D7D-99D94A60C28E}" type="presParOf" srcId="{DF5C09E8-1B5E-4D89-BB03-8AB8E5CAA715}" destId="{A0232502-F16A-412E-A15B-7181AEBDC505}" srcOrd="5" destOrd="0" presId="urn:microsoft.com/office/officeart/2008/layout/LinedList"/>
    <dgm:cxn modelId="{596037C4-E266-49DA-AD4D-1628EC94F7C1}" type="presParOf" srcId="{A0232502-F16A-412E-A15B-7181AEBDC505}" destId="{1C81FDAC-113A-4052-A648-77077E515C45}" srcOrd="0" destOrd="0" presId="urn:microsoft.com/office/officeart/2008/layout/LinedList"/>
    <dgm:cxn modelId="{CC6159A9-30F6-4C62-B760-C789ADCB93D6}" type="presParOf" srcId="{A0232502-F16A-412E-A15B-7181AEBDC505}" destId="{84B816B7-5B18-415D-AE62-399FE42A947A}"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5D29B14-239F-437B-836D-7E62B6F8E15B}" type="doc">
      <dgm:prSet loTypeId="urn:microsoft.com/office/officeart/2005/8/layout/process4" loCatId="process" qsTypeId="urn:microsoft.com/office/officeart/2005/8/quickstyle/simple1" qsCatId="simple" csTypeId="urn:microsoft.com/office/officeart/2005/8/colors/accent2_2" csCatId="accent2" phldr="1"/>
      <dgm:spPr/>
    </dgm:pt>
    <dgm:pt modelId="{A0F70BC0-4EB0-4BBC-879F-02065621DA02}">
      <dgm:prSet phldrT="[Text]" custT="1"/>
      <dgm:spPr/>
      <dgm:t>
        <a:bodyPr/>
        <a:lstStyle/>
        <a:p>
          <a:r>
            <a:rPr lang="en-US" sz="2400"/>
            <a:t>Create </a:t>
          </a:r>
          <a:r>
            <a:rPr lang="en-US" sz="2400">
              <a:latin typeface="Segoe UI Semibold"/>
            </a:rPr>
            <a:t>New</a:t>
          </a:r>
          <a:r>
            <a:rPr lang="en-US" sz="2400"/>
            <a:t> </a:t>
          </a:r>
          <a:r>
            <a:rPr lang="en-US" sz="2400">
              <a:latin typeface="Segoe UI Semibold"/>
            </a:rPr>
            <a:t>File</a:t>
          </a:r>
          <a:r>
            <a:rPr lang="en-US" sz="2400"/>
            <a:t>(s)</a:t>
          </a:r>
        </a:p>
      </dgm:t>
    </dgm:pt>
    <dgm:pt modelId="{38C1A4D5-4CF5-49A6-8A33-F23F396C93DB}" type="parTrans" cxnId="{851C21FB-78FC-497D-815D-5BD4A53FCFB6}">
      <dgm:prSet/>
      <dgm:spPr/>
      <dgm:t>
        <a:bodyPr/>
        <a:lstStyle/>
        <a:p>
          <a:endParaRPr lang="en-US" sz="2400"/>
        </a:p>
      </dgm:t>
    </dgm:pt>
    <dgm:pt modelId="{EE74A1C0-E68A-4C58-AC04-CF9D594BF023}" type="sibTrans" cxnId="{851C21FB-78FC-497D-815D-5BD4A53FCFB6}">
      <dgm:prSet/>
      <dgm:spPr/>
      <dgm:t>
        <a:bodyPr/>
        <a:lstStyle/>
        <a:p>
          <a:endParaRPr lang="en-US" sz="2400"/>
        </a:p>
      </dgm:t>
    </dgm:pt>
    <dgm:pt modelId="{D84CB310-203E-413B-B27D-56B1AF933A73}">
      <dgm:prSet phldrT="[Text]" custT="1"/>
      <dgm:spPr/>
      <dgm:t>
        <a:bodyPr/>
        <a:lstStyle/>
        <a:p>
          <a:pPr rtl="0"/>
          <a:r>
            <a:rPr lang="en-US" sz="2400"/>
            <a:t>Add to </a:t>
          </a:r>
          <a:r>
            <a:rPr lang="en-US" sz="2400">
              <a:latin typeface="Segoe UI Semibold"/>
            </a:rPr>
            <a:t>Staging Area</a:t>
          </a:r>
          <a:endParaRPr lang="en-US" sz="2400"/>
        </a:p>
      </dgm:t>
    </dgm:pt>
    <dgm:pt modelId="{94A88172-4F4B-4482-AC15-0F52137F9B83}" type="parTrans" cxnId="{9328E9A4-9916-400B-A1CC-023453B561BD}">
      <dgm:prSet/>
      <dgm:spPr/>
      <dgm:t>
        <a:bodyPr/>
        <a:lstStyle/>
        <a:p>
          <a:endParaRPr lang="en-US" sz="2400"/>
        </a:p>
      </dgm:t>
    </dgm:pt>
    <dgm:pt modelId="{B6AD36AA-FECE-4C5F-8614-3E903858AD61}" type="sibTrans" cxnId="{9328E9A4-9916-400B-A1CC-023453B561BD}">
      <dgm:prSet/>
      <dgm:spPr/>
      <dgm:t>
        <a:bodyPr/>
        <a:lstStyle/>
        <a:p>
          <a:endParaRPr lang="en-US" sz="2400"/>
        </a:p>
      </dgm:t>
    </dgm:pt>
    <dgm:pt modelId="{EF0F0401-F492-443C-89A9-03BF64E35EA6}">
      <dgm:prSet phldrT="[Text]" custT="1"/>
      <dgm:spPr/>
      <dgm:t>
        <a:bodyPr/>
        <a:lstStyle/>
        <a:p>
          <a:r>
            <a:rPr lang="en-US" sz="2400"/>
            <a:t>Commit </a:t>
          </a:r>
          <a:r>
            <a:rPr lang="en-US" sz="2400">
              <a:latin typeface="Segoe UI Semibold"/>
            </a:rPr>
            <a:t>File</a:t>
          </a:r>
          <a:r>
            <a:rPr lang="en-US" sz="2400"/>
            <a:t>(s)</a:t>
          </a:r>
        </a:p>
      </dgm:t>
    </dgm:pt>
    <dgm:pt modelId="{0E925E63-41C1-4D64-9AF8-1F36F6D343A1}" type="parTrans" cxnId="{D314FD4A-ACDC-46ED-93B0-25F8CC714DC9}">
      <dgm:prSet/>
      <dgm:spPr/>
      <dgm:t>
        <a:bodyPr/>
        <a:lstStyle/>
        <a:p>
          <a:endParaRPr lang="en-US" sz="2400"/>
        </a:p>
      </dgm:t>
    </dgm:pt>
    <dgm:pt modelId="{8CD7218E-4FA7-4C4E-949B-10D2EE880ABE}" type="sibTrans" cxnId="{D314FD4A-ACDC-46ED-93B0-25F8CC714DC9}">
      <dgm:prSet/>
      <dgm:spPr/>
      <dgm:t>
        <a:bodyPr/>
        <a:lstStyle/>
        <a:p>
          <a:endParaRPr lang="en-US" sz="2400"/>
        </a:p>
      </dgm:t>
    </dgm:pt>
    <dgm:pt modelId="{C353B61D-B4FA-4A57-8771-6735AAEC2C45}" type="pres">
      <dgm:prSet presAssocID="{85D29B14-239F-437B-836D-7E62B6F8E15B}" presName="Name0" presStyleCnt="0">
        <dgm:presLayoutVars>
          <dgm:dir/>
          <dgm:animLvl val="lvl"/>
          <dgm:resizeHandles val="exact"/>
        </dgm:presLayoutVars>
      </dgm:prSet>
      <dgm:spPr/>
    </dgm:pt>
    <dgm:pt modelId="{D1B2E7A2-FAD2-4800-8806-33ACB2567BDF}" type="pres">
      <dgm:prSet presAssocID="{EF0F0401-F492-443C-89A9-03BF64E35EA6}" presName="boxAndChildren" presStyleCnt="0"/>
      <dgm:spPr/>
    </dgm:pt>
    <dgm:pt modelId="{5CE42FD0-8DD3-4230-A45D-F781F3868A8D}" type="pres">
      <dgm:prSet presAssocID="{EF0F0401-F492-443C-89A9-03BF64E35EA6}" presName="parentTextBox" presStyleLbl="node1" presStyleIdx="0" presStyleCnt="3"/>
      <dgm:spPr/>
    </dgm:pt>
    <dgm:pt modelId="{F6833517-C745-480D-A512-B3DC531F8F86}" type="pres">
      <dgm:prSet presAssocID="{B6AD36AA-FECE-4C5F-8614-3E903858AD61}" presName="sp" presStyleCnt="0"/>
      <dgm:spPr/>
    </dgm:pt>
    <dgm:pt modelId="{9FF1A78F-0CCB-49D3-B97B-87EBAA3E21B1}" type="pres">
      <dgm:prSet presAssocID="{D84CB310-203E-413B-B27D-56B1AF933A73}" presName="arrowAndChildren" presStyleCnt="0"/>
      <dgm:spPr/>
    </dgm:pt>
    <dgm:pt modelId="{764612B9-7EFD-418C-9267-F7C8EE93FD13}" type="pres">
      <dgm:prSet presAssocID="{D84CB310-203E-413B-B27D-56B1AF933A73}" presName="parentTextArrow" presStyleLbl="node1" presStyleIdx="1" presStyleCnt="3"/>
      <dgm:spPr/>
    </dgm:pt>
    <dgm:pt modelId="{09D93B3B-DEBB-4FB4-9F82-E3AF0C4E6A6B}" type="pres">
      <dgm:prSet presAssocID="{EE74A1C0-E68A-4C58-AC04-CF9D594BF023}" presName="sp" presStyleCnt="0"/>
      <dgm:spPr/>
    </dgm:pt>
    <dgm:pt modelId="{BC0F1520-F631-46A8-A398-D239ED01F9CB}" type="pres">
      <dgm:prSet presAssocID="{A0F70BC0-4EB0-4BBC-879F-02065621DA02}" presName="arrowAndChildren" presStyleCnt="0"/>
      <dgm:spPr/>
    </dgm:pt>
    <dgm:pt modelId="{47FE52F2-6633-44E9-BEF3-9AA18A2D8562}" type="pres">
      <dgm:prSet presAssocID="{A0F70BC0-4EB0-4BBC-879F-02065621DA02}" presName="parentTextArrow" presStyleLbl="node1" presStyleIdx="2" presStyleCnt="3"/>
      <dgm:spPr/>
    </dgm:pt>
  </dgm:ptLst>
  <dgm:cxnLst>
    <dgm:cxn modelId="{134E220B-3353-4BF3-B86E-55DB4EE4B09A}" type="presOf" srcId="{EF0F0401-F492-443C-89A9-03BF64E35EA6}" destId="{5CE42FD0-8DD3-4230-A45D-F781F3868A8D}" srcOrd="0" destOrd="0" presId="urn:microsoft.com/office/officeart/2005/8/layout/process4"/>
    <dgm:cxn modelId="{1186C81F-3941-4D8D-8FF9-A45C9FE3194F}" type="presOf" srcId="{D84CB310-203E-413B-B27D-56B1AF933A73}" destId="{764612B9-7EFD-418C-9267-F7C8EE93FD13}" srcOrd="0" destOrd="0" presId="urn:microsoft.com/office/officeart/2005/8/layout/process4"/>
    <dgm:cxn modelId="{D314FD4A-ACDC-46ED-93B0-25F8CC714DC9}" srcId="{85D29B14-239F-437B-836D-7E62B6F8E15B}" destId="{EF0F0401-F492-443C-89A9-03BF64E35EA6}" srcOrd="2" destOrd="0" parTransId="{0E925E63-41C1-4D64-9AF8-1F36F6D343A1}" sibTransId="{8CD7218E-4FA7-4C4E-949B-10D2EE880ABE}"/>
    <dgm:cxn modelId="{4FC59B6B-B235-4088-A120-68BD81CF3520}" type="presOf" srcId="{A0F70BC0-4EB0-4BBC-879F-02065621DA02}" destId="{47FE52F2-6633-44E9-BEF3-9AA18A2D8562}" srcOrd="0" destOrd="0" presId="urn:microsoft.com/office/officeart/2005/8/layout/process4"/>
    <dgm:cxn modelId="{9328E9A4-9916-400B-A1CC-023453B561BD}" srcId="{85D29B14-239F-437B-836D-7E62B6F8E15B}" destId="{D84CB310-203E-413B-B27D-56B1AF933A73}" srcOrd="1" destOrd="0" parTransId="{94A88172-4F4B-4482-AC15-0F52137F9B83}" sibTransId="{B6AD36AA-FECE-4C5F-8614-3E903858AD61}"/>
    <dgm:cxn modelId="{9E9738F3-330E-4B94-ACFB-198115185296}" type="presOf" srcId="{85D29B14-239F-437B-836D-7E62B6F8E15B}" destId="{C353B61D-B4FA-4A57-8771-6735AAEC2C45}" srcOrd="0" destOrd="0" presId="urn:microsoft.com/office/officeart/2005/8/layout/process4"/>
    <dgm:cxn modelId="{851C21FB-78FC-497D-815D-5BD4A53FCFB6}" srcId="{85D29B14-239F-437B-836D-7E62B6F8E15B}" destId="{A0F70BC0-4EB0-4BBC-879F-02065621DA02}" srcOrd="0" destOrd="0" parTransId="{38C1A4D5-4CF5-49A6-8A33-F23F396C93DB}" sibTransId="{EE74A1C0-E68A-4C58-AC04-CF9D594BF023}"/>
    <dgm:cxn modelId="{0D758BDF-F2F2-4357-B6D3-3CCAF7FB5FAD}" type="presParOf" srcId="{C353B61D-B4FA-4A57-8771-6735AAEC2C45}" destId="{D1B2E7A2-FAD2-4800-8806-33ACB2567BDF}" srcOrd="0" destOrd="0" presId="urn:microsoft.com/office/officeart/2005/8/layout/process4"/>
    <dgm:cxn modelId="{ECE4479D-35B0-400C-8397-D6E58DE0E180}" type="presParOf" srcId="{D1B2E7A2-FAD2-4800-8806-33ACB2567BDF}" destId="{5CE42FD0-8DD3-4230-A45D-F781F3868A8D}" srcOrd="0" destOrd="0" presId="urn:microsoft.com/office/officeart/2005/8/layout/process4"/>
    <dgm:cxn modelId="{52D4A083-809D-4709-8D78-28E9350E7641}" type="presParOf" srcId="{C353B61D-B4FA-4A57-8771-6735AAEC2C45}" destId="{F6833517-C745-480D-A512-B3DC531F8F86}" srcOrd="1" destOrd="0" presId="urn:microsoft.com/office/officeart/2005/8/layout/process4"/>
    <dgm:cxn modelId="{3BBFFAA3-8F1C-4355-8F2A-8ECA6E773CFE}" type="presParOf" srcId="{C353B61D-B4FA-4A57-8771-6735AAEC2C45}" destId="{9FF1A78F-0CCB-49D3-B97B-87EBAA3E21B1}" srcOrd="2" destOrd="0" presId="urn:microsoft.com/office/officeart/2005/8/layout/process4"/>
    <dgm:cxn modelId="{E22452F3-4DA0-42E8-90E9-B99B7A4BE25F}" type="presParOf" srcId="{9FF1A78F-0CCB-49D3-B97B-87EBAA3E21B1}" destId="{764612B9-7EFD-418C-9267-F7C8EE93FD13}" srcOrd="0" destOrd="0" presId="urn:microsoft.com/office/officeart/2005/8/layout/process4"/>
    <dgm:cxn modelId="{7B8D2E1D-9FB7-4177-91C8-F0E6A0E0D04D}" type="presParOf" srcId="{C353B61D-B4FA-4A57-8771-6735AAEC2C45}" destId="{09D93B3B-DEBB-4FB4-9F82-E3AF0C4E6A6B}" srcOrd="3" destOrd="0" presId="urn:microsoft.com/office/officeart/2005/8/layout/process4"/>
    <dgm:cxn modelId="{7CECF53F-D7E1-4474-887E-53E5EDC884FD}" type="presParOf" srcId="{C353B61D-B4FA-4A57-8771-6735AAEC2C45}" destId="{BC0F1520-F631-46A8-A398-D239ED01F9CB}" srcOrd="4" destOrd="0" presId="urn:microsoft.com/office/officeart/2005/8/layout/process4"/>
    <dgm:cxn modelId="{54840691-6585-49E4-8CD3-823E12D19346}" type="presParOf" srcId="{BC0F1520-F631-46A8-A398-D239ED01F9CB}" destId="{47FE52F2-6633-44E9-BEF3-9AA18A2D8562}" srcOrd="0" destOrd="0" presId="urn:microsoft.com/office/officeart/2005/8/layout/process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F8AA9E-1A97-4A93-B783-2494838E4AB9}">
      <dsp:nvSpPr>
        <dsp:cNvPr id="0" name=""/>
        <dsp:cNvSpPr/>
      </dsp:nvSpPr>
      <dsp:spPr>
        <a:xfrm>
          <a:off x="0" y="4340"/>
          <a:ext cx="10880725" cy="92460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A93692-3A02-498B-B009-2E1E404EE69B}">
      <dsp:nvSpPr>
        <dsp:cNvPr id="0" name=""/>
        <dsp:cNvSpPr/>
      </dsp:nvSpPr>
      <dsp:spPr>
        <a:xfrm>
          <a:off x="279693" y="212377"/>
          <a:ext cx="508533" cy="50853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F220836-1F43-419E-B7C0-A70DF7DF3085}">
      <dsp:nvSpPr>
        <dsp:cNvPr id="0" name=""/>
        <dsp:cNvSpPr/>
      </dsp:nvSpPr>
      <dsp:spPr>
        <a:xfrm>
          <a:off x="1067921" y="4340"/>
          <a:ext cx="9812803" cy="924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854" tIns="97854" rIns="97854" bIns="97854" numCol="1" spcCol="1270" anchor="ctr" anchorCtr="0">
          <a:noAutofit/>
        </a:bodyPr>
        <a:lstStyle/>
        <a:p>
          <a:pPr marL="0" lvl="0" indent="0" algn="l" defTabSz="1244600">
            <a:lnSpc>
              <a:spcPct val="100000"/>
            </a:lnSpc>
            <a:spcBef>
              <a:spcPct val="0"/>
            </a:spcBef>
            <a:spcAft>
              <a:spcPct val="35000"/>
            </a:spcAft>
            <a:buNone/>
          </a:pPr>
          <a:r>
            <a:rPr lang="en-US" sz="2800" b="1" kern="1200"/>
            <a:t>Improve</a:t>
          </a:r>
          <a:r>
            <a:rPr lang="en-US" sz="2800" kern="1200"/>
            <a:t> collaboration</a:t>
          </a:r>
        </a:p>
      </dsp:txBody>
      <dsp:txXfrm>
        <a:off x="1067921" y="4340"/>
        <a:ext cx="9812803" cy="924607"/>
      </dsp:txXfrm>
    </dsp:sp>
    <dsp:sp modelId="{33CA625F-9F51-48EB-94F1-BFE84A98A5FC}">
      <dsp:nvSpPr>
        <dsp:cNvPr id="0" name=""/>
        <dsp:cNvSpPr/>
      </dsp:nvSpPr>
      <dsp:spPr>
        <a:xfrm>
          <a:off x="0" y="1160099"/>
          <a:ext cx="10880725" cy="92460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7E4D9A-DE53-492E-A53A-2BAA710E2117}">
      <dsp:nvSpPr>
        <dsp:cNvPr id="0" name=""/>
        <dsp:cNvSpPr/>
      </dsp:nvSpPr>
      <dsp:spPr>
        <a:xfrm>
          <a:off x="279693" y="1368136"/>
          <a:ext cx="508533" cy="50853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4526B59-6A2F-492E-ABF2-BFAAD6A6AC1F}">
      <dsp:nvSpPr>
        <dsp:cNvPr id="0" name=""/>
        <dsp:cNvSpPr/>
      </dsp:nvSpPr>
      <dsp:spPr>
        <a:xfrm>
          <a:off x="1067921" y="1160099"/>
          <a:ext cx="9812803" cy="924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854" tIns="97854" rIns="97854" bIns="97854" numCol="1" spcCol="1270" anchor="ctr" anchorCtr="0">
          <a:noAutofit/>
        </a:bodyPr>
        <a:lstStyle/>
        <a:p>
          <a:pPr marL="0" lvl="0" indent="0" algn="l" defTabSz="1244600">
            <a:lnSpc>
              <a:spcPct val="100000"/>
            </a:lnSpc>
            <a:spcBef>
              <a:spcPct val="0"/>
            </a:spcBef>
            <a:spcAft>
              <a:spcPct val="35000"/>
            </a:spcAft>
            <a:buNone/>
          </a:pPr>
          <a:r>
            <a:rPr lang="en-US" sz="2800" b="1" kern="1200"/>
            <a:t>Enable</a:t>
          </a:r>
          <a:r>
            <a:rPr lang="en-US" sz="2800" kern="1200"/>
            <a:t> parallel development</a:t>
          </a:r>
        </a:p>
      </dsp:txBody>
      <dsp:txXfrm>
        <a:off x="1067921" y="1160099"/>
        <a:ext cx="9812803" cy="924607"/>
      </dsp:txXfrm>
    </dsp:sp>
    <dsp:sp modelId="{985C680F-F63B-442F-B42E-405458B6B051}">
      <dsp:nvSpPr>
        <dsp:cNvPr id="0" name=""/>
        <dsp:cNvSpPr/>
      </dsp:nvSpPr>
      <dsp:spPr>
        <a:xfrm>
          <a:off x="0" y="2315858"/>
          <a:ext cx="10880725" cy="92460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8AB81D-CE0F-4224-9FDA-A321A2D3F2F2}">
      <dsp:nvSpPr>
        <dsp:cNvPr id="0" name=""/>
        <dsp:cNvSpPr/>
      </dsp:nvSpPr>
      <dsp:spPr>
        <a:xfrm>
          <a:off x="279693" y="2523895"/>
          <a:ext cx="508533" cy="50853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F5D6FC9-A498-490B-8EEA-DD03E75B02B4}">
      <dsp:nvSpPr>
        <dsp:cNvPr id="0" name=""/>
        <dsp:cNvSpPr/>
      </dsp:nvSpPr>
      <dsp:spPr>
        <a:xfrm>
          <a:off x="1067921" y="2315858"/>
          <a:ext cx="9812803" cy="924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854" tIns="97854" rIns="97854" bIns="97854" numCol="1" spcCol="1270" anchor="ctr" anchorCtr="0">
          <a:noAutofit/>
        </a:bodyPr>
        <a:lstStyle/>
        <a:p>
          <a:pPr marL="0" lvl="0" indent="0" algn="l" defTabSz="1244600">
            <a:lnSpc>
              <a:spcPct val="100000"/>
            </a:lnSpc>
            <a:spcBef>
              <a:spcPct val="0"/>
            </a:spcBef>
            <a:spcAft>
              <a:spcPct val="35000"/>
            </a:spcAft>
            <a:buNone/>
          </a:pPr>
          <a:r>
            <a:rPr lang="en-US" sz="2800" b="1" kern="1200"/>
            <a:t>Minimize</a:t>
          </a:r>
          <a:r>
            <a:rPr lang="en-US" sz="2800" kern="1200"/>
            <a:t> integration debt</a:t>
          </a:r>
        </a:p>
      </dsp:txBody>
      <dsp:txXfrm>
        <a:off x="1067921" y="2315858"/>
        <a:ext cx="9812803" cy="924607"/>
      </dsp:txXfrm>
    </dsp:sp>
    <dsp:sp modelId="{1A19ECF8-CBD6-4FE1-9D04-6533D0829CF1}">
      <dsp:nvSpPr>
        <dsp:cNvPr id="0" name=""/>
        <dsp:cNvSpPr/>
      </dsp:nvSpPr>
      <dsp:spPr>
        <a:xfrm>
          <a:off x="0" y="3471617"/>
          <a:ext cx="10880725" cy="92460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1B493F-87D0-4837-B64B-013774CFE420}">
      <dsp:nvSpPr>
        <dsp:cNvPr id="0" name=""/>
        <dsp:cNvSpPr/>
      </dsp:nvSpPr>
      <dsp:spPr>
        <a:xfrm>
          <a:off x="279693" y="3679654"/>
          <a:ext cx="508533" cy="50853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63E21F2-1A0A-4854-AE98-AA75ED596E46}">
      <dsp:nvSpPr>
        <dsp:cNvPr id="0" name=""/>
        <dsp:cNvSpPr/>
      </dsp:nvSpPr>
      <dsp:spPr>
        <a:xfrm>
          <a:off x="1067921" y="3471617"/>
          <a:ext cx="9812803" cy="924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854" tIns="97854" rIns="97854" bIns="97854" numCol="1" spcCol="1270" anchor="ctr" anchorCtr="0">
          <a:noAutofit/>
        </a:bodyPr>
        <a:lstStyle/>
        <a:p>
          <a:pPr marL="0" lvl="0" indent="0" algn="l" defTabSz="1244600">
            <a:lnSpc>
              <a:spcPct val="100000"/>
            </a:lnSpc>
            <a:spcBef>
              <a:spcPct val="0"/>
            </a:spcBef>
            <a:spcAft>
              <a:spcPct val="35000"/>
            </a:spcAft>
            <a:buNone/>
          </a:pPr>
          <a:r>
            <a:rPr lang="en-US" sz="2800" b="1" kern="1200"/>
            <a:t>Manage</a:t>
          </a:r>
          <a:r>
            <a:rPr lang="en-US" sz="2800" kern="1200"/>
            <a:t> versions with the ability to roll back</a:t>
          </a:r>
        </a:p>
      </dsp:txBody>
      <dsp:txXfrm>
        <a:off x="1067921" y="3471617"/>
        <a:ext cx="9812803" cy="924607"/>
      </dsp:txXfrm>
    </dsp:sp>
    <dsp:sp modelId="{C28EFDA9-2416-4C66-AD11-6E66EEBCA2EC}">
      <dsp:nvSpPr>
        <dsp:cNvPr id="0" name=""/>
        <dsp:cNvSpPr/>
      </dsp:nvSpPr>
      <dsp:spPr>
        <a:xfrm>
          <a:off x="0" y="4627376"/>
          <a:ext cx="10880725" cy="92460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005666-14B7-489C-9A4D-C5FDF0F0754C}">
      <dsp:nvSpPr>
        <dsp:cNvPr id="0" name=""/>
        <dsp:cNvSpPr/>
      </dsp:nvSpPr>
      <dsp:spPr>
        <a:xfrm>
          <a:off x="279693" y="4835413"/>
          <a:ext cx="508533" cy="50853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56BEE4-BDBF-48EC-A411-788D5C619491}">
      <dsp:nvSpPr>
        <dsp:cNvPr id="0" name=""/>
        <dsp:cNvSpPr/>
      </dsp:nvSpPr>
      <dsp:spPr>
        <a:xfrm>
          <a:off x="1067921" y="4627376"/>
          <a:ext cx="9812803" cy="924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854" tIns="97854" rIns="97854" bIns="97854" numCol="1" spcCol="1270" anchor="ctr" anchorCtr="0">
          <a:noAutofit/>
        </a:bodyPr>
        <a:lstStyle/>
        <a:p>
          <a:pPr marL="0" lvl="0" indent="0" algn="l" defTabSz="1244600">
            <a:lnSpc>
              <a:spcPct val="100000"/>
            </a:lnSpc>
            <a:spcBef>
              <a:spcPct val="0"/>
            </a:spcBef>
            <a:spcAft>
              <a:spcPct val="35000"/>
            </a:spcAft>
            <a:buNone/>
          </a:pPr>
          <a:r>
            <a:rPr lang="en-US" sz="2800" b="1" kern="1200"/>
            <a:t>Build</a:t>
          </a:r>
          <a:r>
            <a:rPr lang="en-US" sz="2800" kern="1200"/>
            <a:t> DevOps processes</a:t>
          </a:r>
        </a:p>
      </dsp:txBody>
      <dsp:txXfrm>
        <a:off x="1067921" y="4627376"/>
        <a:ext cx="9812803" cy="9246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BFA84-6DB1-4413-9E17-5487BA698315}">
      <dsp:nvSpPr>
        <dsp:cNvPr id="0" name=""/>
        <dsp:cNvSpPr/>
      </dsp:nvSpPr>
      <dsp:spPr>
        <a:xfrm>
          <a:off x="0" y="89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B62B66-DC89-42CA-83DC-47DD29CC0FE0}">
      <dsp:nvSpPr>
        <dsp:cNvPr id="0" name=""/>
        <dsp:cNvSpPr/>
      </dsp:nvSpPr>
      <dsp:spPr>
        <a:xfrm>
          <a:off x="0" y="892"/>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Add a file to staging area:</a:t>
          </a:r>
          <a:r>
            <a:rPr lang="en-US" sz="2400" kern="1200" baseline="0"/>
            <a:t> </a:t>
          </a:r>
          <a:r>
            <a:rPr lang="en-US" sz="2400" i="1" kern="1200" baseline="0"/>
            <a:t>git add &lt;filename&gt;</a:t>
          </a:r>
          <a:endParaRPr lang="en-US" sz="2400" kern="1200"/>
        </a:p>
      </dsp:txBody>
      <dsp:txXfrm>
        <a:off x="0" y="892"/>
        <a:ext cx="10972800" cy="609004"/>
      </dsp:txXfrm>
    </dsp:sp>
    <dsp:sp modelId="{28BF1F6B-E199-43B4-BBF8-672D1726226A}">
      <dsp:nvSpPr>
        <dsp:cNvPr id="0" name=""/>
        <dsp:cNvSpPr/>
      </dsp:nvSpPr>
      <dsp:spPr>
        <a:xfrm>
          <a:off x="0" y="60989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E8757C-939A-4D89-B1B9-DC3BA22AD730}">
      <dsp:nvSpPr>
        <dsp:cNvPr id="0" name=""/>
        <dsp:cNvSpPr/>
      </dsp:nvSpPr>
      <dsp:spPr>
        <a:xfrm>
          <a:off x="0" y="609897"/>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Add all files to staging area:</a:t>
          </a:r>
          <a:r>
            <a:rPr lang="en-US" sz="2400" kern="1200" baseline="0"/>
            <a:t> </a:t>
          </a:r>
          <a:r>
            <a:rPr lang="en-US" sz="2400" i="1" kern="1200" baseline="0"/>
            <a:t>git add .</a:t>
          </a:r>
          <a:endParaRPr lang="en-US" sz="2400" kern="1200"/>
        </a:p>
      </dsp:txBody>
      <dsp:txXfrm>
        <a:off x="0" y="609897"/>
        <a:ext cx="10972800" cy="609004"/>
      </dsp:txXfrm>
    </dsp:sp>
    <dsp:sp modelId="{C2B2A15E-ADAE-49F6-BD82-C2B8DC675BC9}">
      <dsp:nvSpPr>
        <dsp:cNvPr id="0" name=""/>
        <dsp:cNvSpPr/>
      </dsp:nvSpPr>
      <dsp:spPr>
        <a:xfrm>
          <a:off x="0" y="121890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28F2FC-704B-4665-BC29-6F0C03B14839}">
      <dsp:nvSpPr>
        <dsp:cNvPr id="0" name=""/>
        <dsp:cNvSpPr/>
      </dsp:nvSpPr>
      <dsp:spPr>
        <a:xfrm>
          <a:off x="0" y="1218902"/>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i="0" kern="1200" baseline="0"/>
            <a:t>View what is staged</a:t>
          </a:r>
          <a:r>
            <a:rPr lang="en-US" sz="2400" i="0" kern="1200" baseline="0"/>
            <a:t>: </a:t>
          </a:r>
          <a:r>
            <a:rPr lang="en-US" sz="2400" i="1" kern="1200" baseline="0"/>
            <a:t>git status</a:t>
          </a:r>
          <a:endParaRPr lang="en-US" sz="2400" kern="1200"/>
        </a:p>
      </dsp:txBody>
      <dsp:txXfrm>
        <a:off x="0" y="1218902"/>
        <a:ext cx="10972800" cy="6090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08A16-24BF-4108-BCFC-3CC1B05345C3}">
      <dsp:nvSpPr>
        <dsp:cNvPr id="0" name=""/>
        <dsp:cNvSpPr/>
      </dsp:nvSpPr>
      <dsp:spPr>
        <a:xfrm>
          <a:off x="2962428" y="4593"/>
          <a:ext cx="3150519" cy="1424929"/>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Snapshots</a:t>
          </a:r>
          <a:r>
            <a:rPr lang="en-US" sz="2400" kern="1200" baseline="0"/>
            <a:t> repository with </a:t>
          </a:r>
          <a:r>
            <a:rPr lang="en-US" sz="2400" b="1" kern="1200" baseline="0"/>
            <a:t>staged</a:t>
          </a:r>
          <a:r>
            <a:rPr lang="en-US" sz="2400" kern="1200" baseline="0"/>
            <a:t> changes</a:t>
          </a:r>
          <a:endParaRPr lang="en-US" sz="2400" kern="1200"/>
        </a:p>
      </dsp:txBody>
      <dsp:txXfrm>
        <a:off x="2962428" y="4593"/>
        <a:ext cx="3150519" cy="1424929"/>
      </dsp:txXfrm>
    </dsp:sp>
    <dsp:sp modelId="{4E3E247C-E72D-482D-B5FF-257ADCE6A9A0}">
      <dsp:nvSpPr>
        <dsp:cNvPr id="0" name=""/>
        <dsp:cNvSpPr/>
      </dsp:nvSpPr>
      <dsp:spPr>
        <a:xfrm>
          <a:off x="1410680" y="4593"/>
          <a:ext cx="1410680" cy="1424929"/>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500" b="5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2C3752C-EEDB-4003-BCF1-969D75057812}">
      <dsp:nvSpPr>
        <dsp:cNvPr id="0" name=""/>
        <dsp:cNvSpPr/>
      </dsp:nvSpPr>
      <dsp:spPr>
        <a:xfrm>
          <a:off x="1410680" y="1664637"/>
          <a:ext cx="3150519" cy="1424929"/>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Logs</a:t>
          </a:r>
          <a:r>
            <a:rPr lang="en-US" sz="2400" kern="1200" baseline="0"/>
            <a:t> </a:t>
          </a:r>
          <a:r>
            <a:rPr lang="en-US" sz="2400" b="1" kern="1200" baseline="0"/>
            <a:t>email</a:t>
          </a:r>
          <a:r>
            <a:rPr lang="en-US" sz="2400" kern="1200" baseline="0"/>
            <a:t> address and </a:t>
          </a:r>
          <a:r>
            <a:rPr lang="en-US" sz="2400" b="1" kern="1200" baseline="0"/>
            <a:t>username</a:t>
          </a:r>
          <a:r>
            <a:rPr lang="en-US" sz="2400" kern="1200" baseline="0"/>
            <a:t> if it is remote repository</a:t>
          </a:r>
          <a:endParaRPr lang="en-US" sz="2400" kern="1200"/>
        </a:p>
      </dsp:txBody>
      <dsp:txXfrm>
        <a:off x="1410680" y="1664637"/>
        <a:ext cx="3150519" cy="1424929"/>
      </dsp:txXfrm>
    </dsp:sp>
    <dsp:sp modelId="{397B3F75-6222-4F9C-96F2-635AC95ED91D}">
      <dsp:nvSpPr>
        <dsp:cNvPr id="0" name=""/>
        <dsp:cNvSpPr/>
      </dsp:nvSpPr>
      <dsp:spPr>
        <a:xfrm>
          <a:off x="4702268" y="1664637"/>
          <a:ext cx="1410680" cy="1424929"/>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00" b="5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7BDA2F4-9694-4DAA-8968-83159AD9F9CB}">
      <dsp:nvSpPr>
        <dsp:cNvPr id="0" name=""/>
        <dsp:cNvSpPr/>
      </dsp:nvSpPr>
      <dsp:spPr>
        <a:xfrm>
          <a:off x="2962428" y="3324680"/>
          <a:ext cx="3150519" cy="1424929"/>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Contains </a:t>
          </a:r>
          <a:r>
            <a:rPr lang="en-US" sz="2400" b="1" kern="1200" baseline="0"/>
            <a:t>message</a:t>
          </a:r>
          <a:r>
            <a:rPr lang="en-US" sz="2400" kern="1200" baseline="0"/>
            <a:t> describing changes</a:t>
          </a:r>
          <a:endParaRPr lang="en-US" sz="2400" kern="1200"/>
        </a:p>
      </dsp:txBody>
      <dsp:txXfrm>
        <a:off x="2962428" y="3324680"/>
        <a:ext cx="3150519" cy="1424929"/>
      </dsp:txXfrm>
    </dsp:sp>
    <dsp:sp modelId="{33FF5D9C-6ECD-4383-9EDD-F5A095C3C6AB}">
      <dsp:nvSpPr>
        <dsp:cNvPr id="0" name=""/>
        <dsp:cNvSpPr/>
      </dsp:nvSpPr>
      <dsp:spPr>
        <a:xfrm>
          <a:off x="1410680" y="3324680"/>
          <a:ext cx="1410680" cy="1424929"/>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500" b="5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87E2D3-8CC7-4E0F-9911-CFBD7CB3D0E7}">
      <dsp:nvSpPr>
        <dsp:cNvPr id="0" name=""/>
        <dsp:cNvSpPr/>
      </dsp:nvSpPr>
      <dsp:spPr>
        <a:xfrm>
          <a:off x="1410680" y="4984723"/>
          <a:ext cx="3150519" cy="1424929"/>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Commit has </a:t>
          </a:r>
          <a:r>
            <a:rPr lang="en-US" sz="2400" b="1" kern="1200" baseline="0"/>
            <a:t>unique</a:t>
          </a:r>
          <a:r>
            <a:rPr lang="en-US" sz="2400" kern="1200" baseline="0"/>
            <a:t> hash which is used as </a:t>
          </a:r>
          <a:r>
            <a:rPr lang="en-US" sz="2400" b="1" kern="1200" baseline="0"/>
            <a:t>reference</a:t>
          </a:r>
          <a:endParaRPr lang="en-US" sz="2400" b="1" kern="1200"/>
        </a:p>
      </dsp:txBody>
      <dsp:txXfrm>
        <a:off x="1410680" y="4984723"/>
        <a:ext cx="3150519" cy="1424929"/>
      </dsp:txXfrm>
    </dsp:sp>
    <dsp:sp modelId="{B790A01B-2217-42FF-9E31-A57B1ED50A81}">
      <dsp:nvSpPr>
        <dsp:cNvPr id="0" name=""/>
        <dsp:cNvSpPr/>
      </dsp:nvSpPr>
      <dsp:spPr>
        <a:xfrm>
          <a:off x="4702268" y="4984723"/>
          <a:ext cx="1410680" cy="1424929"/>
        </a:xfrm>
        <a:prstGeom prst="rect">
          <a:avLst/>
        </a:prstGeom>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500" b="5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3E6B2E-EB03-47A2-AC68-F78C50C1E0C1}">
      <dsp:nvSpPr>
        <dsp:cNvPr id="0" name=""/>
        <dsp:cNvSpPr/>
      </dsp:nvSpPr>
      <dsp:spPr>
        <a:xfrm>
          <a:off x="0" y="29313"/>
          <a:ext cx="10880726"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ommand line: </a:t>
          </a:r>
          <a:r>
            <a:rPr lang="en-AU" sz="2400" kern="1200">
              <a:solidFill>
                <a:schemeClr val="accent3">
                  <a:lumMod val="60000"/>
                  <a:lumOff val="40000"/>
                </a:schemeClr>
              </a:solidFill>
              <a:latin typeface="Lucida Console"/>
            </a:rPr>
            <a:t>git log</a:t>
          </a:r>
          <a:endParaRPr lang="en-US" sz="2400" kern="1200">
            <a:solidFill>
              <a:schemeClr val="accent3">
                <a:lumMod val="60000"/>
                <a:lumOff val="40000"/>
              </a:schemeClr>
            </a:solidFill>
          </a:endParaRPr>
        </a:p>
      </dsp:txBody>
      <dsp:txXfrm>
        <a:off x="37467" y="66780"/>
        <a:ext cx="10805792" cy="692586"/>
      </dsp:txXfrm>
    </dsp:sp>
    <dsp:sp modelId="{E987D5A2-CDD1-4FCE-9539-F29E6E086743}">
      <dsp:nvSpPr>
        <dsp:cNvPr id="0" name=""/>
        <dsp:cNvSpPr/>
      </dsp:nvSpPr>
      <dsp:spPr>
        <a:xfrm>
          <a:off x="0" y="914913"/>
          <a:ext cx="10880726"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uilt-in GUI: </a:t>
          </a:r>
          <a:r>
            <a:rPr lang="en-AU" sz="2400" kern="1200" err="1">
              <a:solidFill>
                <a:schemeClr val="accent3">
                  <a:lumMod val="60000"/>
                  <a:lumOff val="40000"/>
                </a:schemeClr>
              </a:solidFill>
              <a:latin typeface="Lucida Console"/>
            </a:rPr>
            <a:t>gitk</a:t>
          </a:r>
          <a:endParaRPr lang="en-US" sz="2400" kern="1200">
            <a:solidFill>
              <a:schemeClr val="accent3">
                <a:lumMod val="60000"/>
                <a:lumOff val="40000"/>
              </a:schemeClr>
            </a:solidFill>
          </a:endParaRPr>
        </a:p>
      </dsp:txBody>
      <dsp:txXfrm>
        <a:off x="37467" y="952380"/>
        <a:ext cx="10805792" cy="692586"/>
      </dsp:txXfrm>
    </dsp:sp>
    <dsp:sp modelId="{5891176E-19BD-4165-8150-4E6F6B170F4E}">
      <dsp:nvSpPr>
        <dsp:cNvPr id="0" name=""/>
        <dsp:cNvSpPr/>
      </dsp:nvSpPr>
      <dsp:spPr>
        <a:xfrm>
          <a:off x="0" y="1800513"/>
          <a:ext cx="10880726"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GitHub</a:t>
          </a:r>
          <a:endParaRPr lang="en-US" sz="2400" kern="1200"/>
        </a:p>
      </dsp:txBody>
      <dsp:txXfrm>
        <a:off x="37467" y="1837980"/>
        <a:ext cx="10805792" cy="692586"/>
      </dsp:txXfrm>
    </dsp:sp>
    <dsp:sp modelId="{3E3A00FC-2B41-496A-B8E1-D391B4EF2F19}">
      <dsp:nvSpPr>
        <dsp:cNvPr id="0" name=""/>
        <dsp:cNvSpPr/>
      </dsp:nvSpPr>
      <dsp:spPr>
        <a:xfrm>
          <a:off x="0" y="2686113"/>
          <a:ext cx="10880726"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VSCode extensions:</a:t>
          </a:r>
          <a:endParaRPr lang="en-US" sz="2400" kern="1200"/>
        </a:p>
      </dsp:txBody>
      <dsp:txXfrm>
        <a:off x="37467" y="2723580"/>
        <a:ext cx="10805792" cy="692586"/>
      </dsp:txXfrm>
    </dsp:sp>
    <dsp:sp modelId="{66D8849C-ABBC-4A69-B213-8CB0C98ACD49}">
      <dsp:nvSpPr>
        <dsp:cNvPr id="0" name=""/>
        <dsp:cNvSpPr/>
      </dsp:nvSpPr>
      <dsp:spPr>
        <a:xfrm>
          <a:off x="0" y="3453633"/>
          <a:ext cx="10880726" cy="13367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Git lens</a:t>
          </a:r>
          <a:endParaRPr lang="en-US" sz="2400" kern="1200"/>
        </a:p>
        <a:p>
          <a:pPr marL="228600" lvl="1" indent="-228600" algn="l" defTabSz="1066800">
            <a:lnSpc>
              <a:spcPct val="90000"/>
            </a:lnSpc>
            <a:spcBef>
              <a:spcPct val="0"/>
            </a:spcBef>
            <a:spcAft>
              <a:spcPct val="20000"/>
            </a:spcAft>
            <a:buChar char="•"/>
          </a:pPr>
          <a:r>
            <a:rPr lang="en-US" sz="2400" kern="1200" baseline="0"/>
            <a:t>Git file history</a:t>
          </a:r>
          <a:endParaRPr lang="en-US" sz="2400" kern="1200"/>
        </a:p>
        <a:p>
          <a:pPr marL="228600" lvl="1" indent="-228600" algn="l" defTabSz="1066800">
            <a:lnSpc>
              <a:spcPct val="90000"/>
            </a:lnSpc>
            <a:spcBef>
              <a:spcPct val="0"/>
            </a:spcBef>
            <a:spcAft>
              <a:spcPct val="20000"/>
            </a:spcAft>
            <a:buChar char="•"/>
          </a:pPr>
          <a:r>
            <a:rPr lang="en-US" sz="2400" kern="1200" baseline="0"/>
            <a:t>Git graph</a:t>
          </a:r>
          <a:endParaRPr lang="en-US" sz="2400" kern="1200"/>
        </a:p>
      </dsp:txBody>
      <dsp:txXfrm>
        <a:off x="0" y="3453633"/>
        <a:ext cx="10880726" cy="13367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872F0B-F073-4043-BBEF-BC943C47A7CA}">
      <dsp:nvSpPr>
        <dsp:cNvPr id="0" name=""/>
        <dsp:cNvSpPr/>
      </dsp:nvSpPr>
      <dsp:spPr>
        <a:xfrm>
          <a:off x="0" y="0"/>
          <a:ext cx="115006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64F56D-CB3C-4741-A9D5-73EF235E5E91}">
      <dsp:nvSpPr>
        <dsp:cNvPr id="0" name=""/>
        <dsp:cNvSpPr/>
      </dsp:nvSpPr>
      <dsp:spPr>
        <a:xfrm>
          <a:off x="0" y="0"/>
          <a:ext cx="11500626" cy="1257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Extensions allow for easily browsing changes through commits</a:t>
          </a:r>
          <a:endParaRPr lang="en-US" sz="2800" kern="1200"/>
        </a:p>
      </dsp:txBody>
      <dsp:txXfrm>
        <a:off x="0" y="0"/>
        <a:ext cx="11500626" cy="125722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4325"/>
          <a:ext cx="11142111" cy="9212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278675" y="211604"/>
          <a:ext cx="506682" cy="506682"/>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1064033" y="4325"/>
          <a:ext cx="10078077" cy="92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98" tIns="97498" rIns="97498" bIns="97498" numCol="1" spcCol="1270" anchor="ctr" anchorCtr="0">
          <a:noAutofit/>
        </a:bodyPr>
        <a:lstStyle/>
        <a:p>
          <a:pPr marL="0" lvl="0" indent="0" algn="l" defTabSz="1066800">
            <a:lnSpc>
              <a:spcPct val="100000"/>
            </a:lnSpc>
            <a:spcBef>
              <a:spcPct val="0"/>
            </a:spcBef>
            <a:spcAft>
              <a:spcPct val="35000"/>
            </a:spcAft>
            <a:buNone/>
          </a:pPr>
          <a:r>
            <a:rPr lang="en-US" sz="2400" b="1" kern="1200"/>
            <a:t>Central location </a:t>
          </a:r>
          <a:r>
            <a:rPr lang="en-US" sz="2400" kern="1200"/>
            <a:t>for main project team is working on</a:t>
          </a:r>
        </a:p>
      </dsp:txBody>
      <dsp:txXfrm>
        <a:off x="1064033" y="4325"/>
        <a:ext cx="10078077" cy="921240"/>
      </dsp:txXfrm>
    </dsp:sp>
    <dsp:sp modelId="{570C701F-BC5D-424E-B8A6-563FE998DEE5}">
      <dsp:nvSpPr>
        <dsp:cNvPr id="0" name=""/>
        <dsp:cNvSpPr/>
      </dsp:nvSpPr>
      <dsp:spPr>
        <a:xfrm>
          <a:off x="0" y="1155876"/>
          <a:ext cx="11142111" cy="9212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C5345BC-78B6-4F30-91B1-52EDC16191E5}">
      <dsp:nvSpPr>
        <dsp:cNvPr id="0" name=""/>
        <dsp:cNvSpPr/>
      </dsp:nvSpPr>
      <dsp:spPr>
        <a:xfrm>
          <a:off x="278675" y="1363155"/>
          <a:ext cx="506682" cy="5066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D80276-C3D3-44D3-9097-756CFF32A359}">
      <dsp:nvSpPr>
        <dsp:cNvPr id="0" name=""/>
        <dsp:cNvSpPr/>
      </dsp:nvSpPr>
      <dsp:spPr>
        <a:xfrm>
          <a:off x="1064033" y="1155876"/>
          <a:ext cx="10078077" cy="92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98" tIns="97498" rIns="97498" bIns="97498" numCol="1" spcCol="1270" anchor="ctr" anchorCtr="0">
          <a:noAutofit/>
        </a:bodyPr>
        <a:lstStyle/>
        <a:p>
          <a:pPr marL="0" lvl="0" indent="0" algn="l" defTabSz="1066800">
            <a:lnSpc>
              <a:spcPct val="100000"/>
            </a:lnSpc>
            <a:spcBef>
              <a:spcPct val="0"/>
            </a:spcBef>
            <a:spcAft>
              <a:spcPct val="35000"/>
            </a:spcAft>
            <a:buNone/>
          </a:pPr>
          <a:r>
            <a:rPr lang="en-US" sz="2400" kern="1200"/>
            <a:t>Changes are made and committed to </a:t>
          </a:r>
          <a:r>
            <a:rPr lang="en-US" sz="2400" b="1" kern="1200"/>
            <a:t>local</a:t>
          </a:r>
          <a:r>
            <a:rPr lang="en-US" sz="2400" kern="1200"/>
            <a:t> repository as normal</a:t>
          </a:r>
        </a:p>
      </dsp:txBody>
      <dsp:txXfrm>
        <a:off x="1064033" y="1155876"/>
        <a:ext cx="10078077" cy="921240"/>
      </dsp:txXfrm>
    </dsp:sp>
    <dsp:sp modelId="{3A9E4B2D-0EC5-45BC-A128-CA5365779572}">
      <dsp:nvSpPr>
        <dsp:cNvPr id="0" name=""/>
        <dsp:cNvSpPr/>
      </dsp:nvSpPr>
      <dsp:spPr>
        <a:xfrm>
          <a:off x="0" y="2307427"/>
          <a:ext cx="11142111" cy="9212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3B55C0-A0BE-4713-9E9D-C6C5EFD3EB7A}">
      <dsp:nvSpPr>
        <dsp:cNvPr id="0" name=""/>
        <dsp:cNvSpPr/>
      </dsp:nvSpPr>
      <dsp:spPr>
        <a:xfrm>
          <a:off x="278675" y="2514706"/>
          <a:ext cx="506682" cy="5066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3036886-D2D8-4217-B277-C9B9A9F453C8}">
      <dsp:nvSpPr>
        <dsp:cNvPr id="0" name=""/>
        <dsp:cNvSpPr/>
      </dsp:nvSpPr>
      <dsp:spPr>
        <a:xfrm>
          <a:off x="1064033" y="2307427"/>
          <a:ext cx="10078077" cy="92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98" tIns="97498" rIns="97498" bIns="97498" numCol="1" spcCol="1270" anchor="ctr" anchorCtr="0">
          <a:noAutofit/>
        </a:bodyPr>
        <a:lstStyle/>
        <a:p>
          <a:pPr marL="0" lvl="0" indent="0" algn="l" defTabSz="1066800">
            <a:lnSpc>
              <a:spcPct val="100000"/>
            </a:lnSpc>
            <a:spcBef>
              <a:spcPct val="0"/>
            </a:spcBef>
            <a:spcAft>
              <a:spcPct val="35000"/>
            </a:spcAft>
            <a:buNone/>
          </a:pPr>
          <a:r>
            <a:rPr lang="en-US" sz="2400" kern="1200"/>
            <a:t>Local commits are </a:t>
          </a:r>
          <a:r>
            <a:rPr lang="en-US" sz="2400" b="1" kern="1200"/>
            <a:t>pushed</a:t>
          </a:r>
          <a:r>
            <a:rPr lang="en-US" sz="2400" kern="1200"/>
            <a:t> to remote repository</a:t>
          </a:r>
        </a:p>
      </dsp:txBody>
      <dsp:txXfrm>
        <a:off x="1064033" y="2307427"/>
        <a:ext cx="10078077" cy="921240"/>
      </dsp:txXfrm>
    </dsp:sp>
    <dsp:sp modelId="{1D101B6D-0FF1-44E7-AF6D-FCFFEF9230BF}">
      <dsp:nvSpPr>
        <dsp:cNvPr id="0" name=""/>
        <dsp:cNvSpPr/>
      </dsp:nvSpPr>
      <dsp:spPr>
        <a:xfrm>
          <a:off x="0" y="3458978"/>
          <a:ext cx="11142111" cy="9212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C655F5-250E-4DF0-87A1-24C8450BC89B}">
      <dsp:nvSpPr>
        <dsp:cNvPr id="0" name=""/>
        <dsp:cNvSpPr/>
      </dsp:nvSpPr>
      <dsp:spPr>
        <a:xfrm>
          <a:off x="278675" y="3666257"/>
          <a:ext cx="506682" cy="50668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9337B0F-556F-49CB-804F-CCCE0F54EF57}">
      <dsp:nvSpPr>
        <dsp:cNvPr id="0" name=""/>
        <dsp:cNvSpPr/>
      </dsp:nvSpPr>
      <dsp:spPr>
        <a:xfrm>
          <a:off x="1064033" y="3458978"/>
          <a:ext cx="10078077" cy="92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98" tIns="97498" rIns="97498" bIns="97498" numCol="1" spcCol="1270" anchor="ctr" anchorCtr="0">
          <a:noAutofit/>
        </a:bodyPr>
        <a:lstStyle/>
        <a:p>
          <a:pPr marL="0" lvl="0" indent="0" algn="l" defTabSz="1066800">
            <a:lnSpc>
              <a:spcPct val="100000"/>
            </a:lnSpc>
            <a:spcBef>
              <a:spcPct val="0"/>
            </a:spcBef>
            <a:spcAft>
              <a:spcPct val="35000"/>
            </a:spcAft>
            <a:buNone/>
          </a:pPr>
          <a:r>
            <a:rPr lang="en-US" sz="2400" kern="1200"/>
            <a:t>Updates are </a:t>
          </a:r>
          <a:r>
            <a:rPr lang="en-US" sz="2400" b="1" kern="1200"/>
            <a:t>pulled</a:t>
          </a:r>
          <a:r>
            <a:rPr lang="en-US" sz="2400" kern="1200"/>
            <a:t> from remote repository to local repo</a:t>
          </a:r>
        </a:p>
      </dsp:txBody>
      <dsp:txXfrm>
        <a:off x="1064033" y="3458978"/>
        <a:ext cx="10078077" cy="921240"/>
      </dsp:txXfrm>
    </dsp:sp>
    <dsp:sp modelId="{EA462224-BF63-46BE-853C-A99BFB302B17}">
      <dsp:nvSpPr>
        <dsp:cNvPr id="0" name=""/>
        <dsp:cNvSpPr/>
      </dsp:nvSpPr>
      <dsp:spPr>
        <a:xfrm>
          <a:off x="0" y="4610529"/>
          <a:ext cx="11142111" cy="9212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2C85D0-1B17-4B91-B4C6-C355283A8C00}">
      <dsp:nvSpPr>
        <dsp:cNvPr id="0" name=""/>
        <dsp:cNvSpPr/>
      </dsp:nvSpPr>
      <dsp:spPr>
        <a:xfrm>
          <a:off x="278675" y="4817809"/>
          <a:ext cx="506682" cy="506682"/>
        </a:xfrm>
        <a:prstGeom prst="rect">
          <a:avLst/>
        </a:prstGeom>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97DFC5-40E5-4B5A-B168-60BAF83C910B}">
      <dsp:nvSpPr>
        <dsp:cNvPr id="0" name=""/>
        <dsp:cNvSpPr/>
      </dsp:nvSpPr>
      <dsp:spPr>
        <a:xfrm>
          <a:off x="1064033" y="4610529"/>
          <a:ext cx="10078077" cy="92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98" tIns="97498" rIns="97498" bIns="97498" numCol="1" spcCol="1270" anchor="ctr" anchorCtr="0">
          <a:noAutofit/>
        </a:bodyPr>
        <a:lstStyle/>
        <a:p>
          <a:pPr marL="0" lvl="0" indent="0" algn="l" defTabSz="1066800">
            <a:lnSpc>
              <a:spcPct val="100000"/>
            </a:lnSpc>
            <a:spcBef>
              <a:spcPct val="0"/>
            </a:spcBef>
            <a:spcAft>
              <a:spcPct val="35000"/>
            </a:spcAft>
            <a:buNone/>
          </a:pPr>
          <a:r>
            <a:rPr lang="en-US" sz="2400" b="1" kern="1200"/>
            <a:t>Conflicts</a:t>
          </a:r>
          <a:r>
            <a:rPr lang="en-US" sz="2400" kern="1200"/>
            <a:t> occur when the same file is modified in asynchronous commits</a:t>
          </a:r>
        </a:p>
      </dsp:txBody>
      <dsp:txXfrm>
        <a:off x="1064033" y="4610529"/>
        <a:ext cx="10078077" cy="9212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8DE5ED-8562-4DE2-8DB5-8E7BF1989BC4}">
      <dsp:nvSpPr>
        <dsp:cNvPr id="0" name=""/>
        <dsp:cNvSpPr/>
      </dsp:nvSpPr>
      <dsp:spPr>
        <a:xfrm>
          <a:off x="0" y="5009150"/>
          <a:ext cx="5577840" cy="657448"/>
        </a:xfrm>
        <a:prstGeom prst="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kern="1200"/>
            <a:t>Push</a:t>
          </a:r>
          <a:r>
            <a:rPr lang="en-US" sz="2400" kern="1200"/>
            <a:t> commit to </a:t>
          </a:r>
          <a:r>
            <a:rPr lang="en-US" sz="2400" b="1" kern="1200"/>
            <a:t>remote</a:t>
          </a:r>
          <a:r>
            <a:rPr lang="en-US" sz="2400" kern="1200"/>
            <a:t> repository</a:t>
          </a:r>
        </a:p>
      </dsp:txBody>
      <dsp:txXfrm>
        <a:off x="0" y="5009150"/>
        <a:ext cx="5577840" cy="657448"/>
      </dsp:txXfrm>
    </dsp:sp>
    <dsp:sp modelId="{F2A53CC0-E751-4625-B79D-F94B0D6F708C}">
      <dsp:nvSpPr>
        <dsp:cNvPr id="0" name=""/>
        <dsp:cNvSpPr/>
      </dsp:nvSpPr>
      <dsp:spPr>
        <a:xfrm rot="10800000">
          <a:off x="0" y="4007856"/>
          <a:ext cx="5577840" cy="1011155"/>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kern="1200"/>
            <a:t>Resolve</a:t>
          </a:r>
          <a:r>
            <a:rPr lang="en-US" sz="2400" kern="1200"/>
            <a:t> any conflicts </a:t>
          </a:r>
          <a:r>
            <a:rPr lang="en-US" sz="2400" b="1" kern="1200"/>
            <a:t>locally</a:t>
          </a:r>
        </a:p>
      </dsp:txBody>
      <dsp:txXfrm rot="10800000">
        <a:off x="0" y="4007856"/>
        <a:ext cx="5577840" cy="657018"/>
      </dsp:txXfrm>
    </dsp:sp>
    <dsp:sp modelId="{DF0F2E52-84AF-47F9-8405-00F33533D7C1}">
      <dsp:nvSpPr>
        <dsp:cNvPr id="0" name=""/>
        <dsp:cNvSpPr/>
      </dsp:nvSpPr>
      <dsp:spPr>
        <a:xfrm rot="10800000">
          <a:off x="0" y="3006562"/>
          <a:ext cx="5577840" cy="1011155"/>
        </a:xfrm>
        <a:prstGeom prst="upArrowCallou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kern="1200"/>
            <a:t>Pull</a:t>
          </a:r>
          <a:r>
            <a:rPr lang="en-US" sz="2400" kern="1200"/>
            <a:t> changes from </a:t>
          </a:r>
          <a:r>
            <a:rPr lang="en-US" sz="2400" b="1" kern="1200"/>
            <a:t>remote</a:t>
          </a:r>
          <a:r>
            <a:rPr lang="en-US" sz="2400" kern="1200"/>
            <a:t> repository </a:t>
          </a:r>
        </a:p>
      </dsp:txBody>
      <dsp:txXfrm rot="10800000">
        <a:off x="0" y="3006562"/>
        <a:ext cx="5577840" cy="657018"/>
      </dsp:txXfrm>
    </dsp:sp>
    <dsp:sp modelId="{E4E26344-0703-415F-981F-02D25AC490A6}">
      <dsp:nvSpPr>
        <dsp:cNvPr id="0" name=""/>
        <dsp:cNvSpPr/>
      </dsp:nvSpPr>
      <dsp:spPr>
        <a:xfrm rot="10800000">
          <a:off x="0" y="2005269"/>
          <a:ext cx="5577840" cy="1011155"/>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kern="1200"/>
            <a:t>Commit</a:t>
          </a:r>
          <a:r>
            <a:rPr lang="en-US" sz="2400" kern="1200"/>
            <a:t> locally</a:t>
          </a:r>
        </a:p>
      </dsp:txBody>
      <dsp:txXfrm rot="10800000">
        <a:off x="0" y="2005269"/>
        <a:ext cx="5577840" cy="657018"/>
      </dsp:txXfrm>
    </dsp:sp>
    <dsp:sp modelId="{96236327-1070-4059-B231-B41A5209622C}">
      <dsp:nvSpPr>
        <dsp:cNvPr id="0" name=""/>
        <dsp:cNvSpPr/>
      </dsp:nvSpPr>
      <dsp:spPr>
        <a:xfrm rot="10800000">
          <a:off x="0" y="1003975"/>
          <a:ext cx="5577840" cy="1011155"/>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kern="1200"/>
            <a:t>Add to </a:t>
          </a:r>
          <a:r>
            <a:rPr lang="en-US" sz="2400" kern="1200">
              <a:latin typeface="Segoe UI Semibold"/>
            </a:rPr>
            <a:t>Staging Area</a:t>
          </a:r>
          <a:endParaRPr lang="en-US" sz="2400" kern="1200"/>
        </a:p>
      </dsp:txBody>
      <dsp:txXfrm rot="10800000">
        <a:off x="0" y="1003975"/>
        <a:ext cx="5577840" cy="657018"/>
      </dsp:txXfrm>
    </dsp:sp>
    <dsp:sp modelId="{94571755-D401-42B0-A7B8-5D355FFD0AA0}">
      <dsp:nvSpPr>
        <dsp:cNvPr id="0" name=""/>
        <dsp:cNvSpPr/>
      </dsp:nvSpPr>
      <dsp:spPr>
        <a:xfrm rot="10800000">
          <a:off x="0" y="2681"/>
          <a:ext cx="5577840" cy="1011155"/>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Make changes </a:t>
          </a:r>
          <a:r>
            <a:rPr lang="en-US" sz="2400" b="1" kern="1200"/>
            <a:t>locally</a:t>
          </a:r>
        </a:p>
      </dsp:txBody>
      <dsp:txXfrm rot="10800000">
        <a:off x="0" y="2681"/>
        <a:ext cx="5577840" cy="65701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1BC3D9-E3F3-48CA-81E8-A0D39EA56554}">
      <dsp:nvSpPr>
        <dsp:cNvPr id="0" name=""/>
        <dsp:cNvSpPr/>
      </dsp:nvSpPr>
      <dsp:spPr>
        <a:xfrm>
          <a:off x="0" y="0"/>
          <a:ext cx="54864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E0261C-C1AB-4148-A52F-E9EC0B412404}">
      <dsp:nvSpPr>
        <dsp:cNvPr id="0" name=""/>
        <dsp:cNvSpPr/>
      </dsp:nvSpPr>
      <dsp:spPr>
        <a:xfrm>
          <a:off x="0" y="0"/>
          <a:ext cx="5486400" cy="1417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Performing a push </a:t>
          </a:r>
          <a:r>
            <a:rPr lang="en-US" sz="2400" b="1" kern="1200"/>
            <a:t>before</a:t>
          </a:r>
          <a:r>
            <a:rPr lang="en-US" sz="2400" b="0" kern="1200"/>
            <a:t> a pull will give </a:t>
          </a:r>
          <a:r>
            <a:rPr lang="en-US" sz="2400" b="1" kern="1200"/>
            <a:t>errors</a:t>
          </a:r>
          <a:r>
            <a:rPr lang="en-US" sz="2400" b="0" kern="1200"/>
            <a:t> on conflicts and won’t complete</a:t>
          </a:r>
        </a:p>
      </dsp:txBody>
      <dsp:txXfrm>
        <a:off x="0" y="0"/>
        <a:ext cx="5486400" cy="1417320"/>
      </dsp:txXfrm>
    </dsp:sp>
    <dsp:sp modelId="{D307D91C-E0EF-446D-8F6E-36DD9D835096}">
      <dsp:nvSpPr>
        <dsp:cNvPr id="0" name=""/>
        <dsp:cNvSpPr/>
      </dsp:nvSpPr>
      <dsp:spPr>
        <a:xfrm>
          <a:off x="0" y="1417320"/>
          <a:ext cx="54864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3D4827-B8FF-4853-BCB1-9C669F65F9E0}">
      <dsp:nvSpPr>
        <dsp:cNvPr id="0" name=""/>
        <dsp:cNvSpPr/>
      </dsp:nvSpPr>
      <dsp:spPr>
        <a:xfrm>
          <a:off x="0" y="1417320"/>
          <a:ext cx="5486400" cy="1417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Pull </a:t>
          </a:r>
          <a:r>
            <a:rPr lang="en-US" sz="2400" b="1" kern="1200"/>
            <a:t>before</a:t>
          </a:r>
          <a:r>
            <a:rPr lang="en-US" sz="2400" b="0" kern="1200"/>
            <a:t> pushing to integrate </a:t>
          </a:r>
          <a:r>
            <a:rPr lang="en-US" sz="2400" b="1" kern="1200"/>
            <a:t>changes</a:t>
          </a:r>
          <a:r>
            <a:rPr lang="en-US" sz="2400" b="0" kern="1200"/>
            <a:t> </a:t>
          </a:r>
        </a:p>
      </dsp:txBody>
      <dsp:txXfrm>
        <a:off x="0" y="1417320"/>
        <a:ext cx="5486400" cy="1417320"/>
      </dsp:txXfrm>
    </dsp:sp>
    <dsp:sp modelId="{7A828B2A-97F8-4F6D-A335-6D22C4D0C79B}">
      <dsp:nvSpPr>
        <dsp:cNvPr id="0" name=""/>
        <dsp:cNvSpPr/>
      </dsp:nvSpPr>
      <dsp:spPr>
        <a:xfrm>
          <a:off x="0" y="2834640"/>
          <a:ext cx="54864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CB1EA-42DA-414C-9331-E9FB3A55BA26}">
      <dsp:nvSpPr>
        <dsp:cNvPr id="0" name=""/>
        <dsp:cNvSpPr/>
      </dsp:nvSpPr>
      <dsp:spPr>
        <a:xfrm>
          <a:off x="0" y="2834640"/>
          <a:ext cx="5486400" cy="1417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Push and pull </a:t>
          </a:r>
          <a:r>
            <a:rPr lang="en-US" sz="2400" b="1" kern="1200"/>
            <a:t>frequently</a:t>
          </a:r>
          <a:r>
            <a:rPr lang="en-US" sz="2400" b="0" kern="1200"/>
            <a:t> to reduce conflicts</a:t>
          </a:r>
        </a:p>
      </dsp:txBody>
      <dsp:txXfrm>
        <a:off x="0" y="2834640"/>
        <a:ext cx="5486400" cy="1417320"/>
      </dsp:txXfrm>
    </dsp:sp>
    <dsp:sp modelId="{4E461AA4-6248-4A05-8C28-A4F87C20ACD0}">
      <dsp:nvSpPr>
        <dsp:cNvPr id="0" name=""/>
        <dsp:cNvSpPr/>
      </dsp:nvSpPr>
      <dsp:spPr>
        <a:xfrm>
          <a:off x="0" y="4251960"/>
          <a:ext cx="54864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28320E-DFF8-48E4-AAE7-EB2CE1BD486C}">
      <dsp:nvSpPr>
        <dsp:cNvPr id="0" name=""/>
        <dsp:cNvSpPr/>
      </dsp:nvSpPr>
      <dsp:spPr>
        <a:xfrm>
          <a:off x="0" y="4251959"/>
          <a:ext cx="5486400" cy="1417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AU" sz="2400" kern="1200">
              <a:solidFill>
                <a:schemeClr val="accent1"/>
              </a:solidFill>
              <a:latin typeface="Lucida Console"/>
            </a:rPr>
            <a:t>git</a:t>
          </a:r>
          <a:r>
            <a:rPr lang="en-US" sz="2400" kern="1200">
              <a:solidFill>
                <a:schemeClr val="accent1"/>
              </a:solidFill>
              <a:latin typeface="Lucida Console" panose="020B0609040504020204" pitchFamily="49" charset="0"/>
            </a:rPr>
            <a:t> fetch</a:t>
          </a:r>
          <a:r>
            <a:rPr lang="en-US" sz="2400" b="0" kern="1200">
              <a:solidFill>
                <a:schemeClr val="accent1"/>
              </a:solidFill>
            </a:rPr>
            <a:t> </a:t>
          </a:r>
          <a:r>
            <a:rPr lang="en-US" sz="2400" b="0" kern="1200"/>
            <a:t>and </a:t>
          </a:r>
          <a:r>
            <a:rPr lang="en-AU" sz="2400" kern="1200">
              <a:solidFill>
                <a:schemeClr val="accent1"/>
              </a:solidFill>
              <a:latin typeface="Lucida Console"/>
            </a:rPr>
            <a:t>git</a:t>
          </a:r>
          <a:r>
            <a:rPr lang="en-US" sz="2400" kern="1200">
              <a:solidFill>
                <a:schemeClr val="accent1"/>
              </a:solidFill>
              <a:latin typeface="Lucida Console" panose="020B0609040504020204" pitchFamily="49" charset="0"/>
            </a:rPr>
            <a:t> status </a:t>
          </a:r>
          <a:r>
            <a:rPr lang="en-US" sz="2400" b="0" kern="1200"/>
            <a:t>can be used to </a:t>
          </a:r>
          <a:r>
            <a:rPr lang="en-US" sz="2400" b="1" kern="1200"/>
            <a:t>check</a:t>
          </a:r>
          <a:r>
            <a:rPr lang="en-US" sz="2400" b="0" kern="1200"/>
            <a:t> what </a:t>
          </a:r>
          <a:r>
            <a:rPr lang="en-US" sz="2400" b="1" kern="1200"/>
            <a:t>changes</a:t>
          </a:r>
          <a:r>
            <a:rPr lang="en-US" sz="2400" b="0" kern="1200"/>
            <a:t> have been made remotely</a:t>
          </a:r>
        </a:p>
      </dsp:txBody>
      <dsp:txXfrm>
        <a:off x="0" y="4251959"/>
        <a:ext cx="5486400" cy="141732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5EF89F-5D1E-4E31-A78A-3DDF1EB304C7}">
      <dsp:nvSpPr>
        <dsp:cNvPr id="0" name=""/>
        <dsp:cNvSpPr/>
      </dsp:nvSpPr>
      <dsp:spPr>
        <a:xfrm>
          <a:off x="0" y="334"/>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2F9DC9-5EB2-475E-800A-FED9B580D1DC}">
      <dsp:nvSpPr>
        <dsp:cNvPr id="0" name=""/>
        <dsp:cNvSpPr/>
      </dsp:nvSpPr>
      <dsp:spPr>
        <a:xfrm>
          <a:off x="0" y="334"/>
          <a:ext cx="41148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baseline="0"/>
            <a:t>Unique name</a:t>
          </a:r>
          <a:endParaRPr lang="en-US" sz="2400" kern="1200"/>
        </a:p>
      </dsp:txBody>
      <dsp:txXfrm>
        <a:off x="0" y="334"/>
        <a:ext cx="4114800" cy="548506"/>
      </dsp:txXfrm>
    </dsp:sp>
    <dsp:sp modelId="{4C8C590B-837F-43D1-AD84-A1B93F08D4F4}">
      <dsp:nvSpPr>
        <dsp:cNvPr id="0" name=""/>
        <dsp:cNvSpPr/>
      </dsp:nvSpPr>
      <dsp:spPr>
        <a:xfrm>
          <a:off x="0" y="548840"/>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C824D5-E9C1-4A37-937A-128A096ADE2C}">
      <dsp:nvSpPr>
        <dsp:cNvPr id="0" name=""/>
        <dsp:cNvSpPr/>
      </dsp:nvSpPr>
      <dsp:spPr>
        <a:xfrm>
          <a:off x="0" y="548840"/>
          <a:ext cx="41148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baseline="0"/>
            <a:t>Description</a:t>
          </a:r>
          <a:endParaRPr lang="en-US" sz="2400" kern="1200"/>
        </a:p>
      </dsp:txBody>
      <dsp:txXfrm>
        <a:off x="0" y="548840"/>
        <a:ext cx="4114800" cy="548506"/>
      </dsp:txXfrm>
    </dsp:sp>
    <dsp:sp modelId="{2525A35F-89D7-49B7-ACD2-E505F632CB9D}">
      <dsp:nvSpPr>
        <dsp:cNvPr id="0" name=""/>
        <dsp:cNvSpPr/>
      </dsp:nvSpPr>
      <dsp:spPr>
        <a:xfrm>
          <a:off x="0" y="1097346"/>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344BB3-A2A8-4A1D-AF02-B4A964490AB5}">
      <dsp:nvSpPr>
        <dsp:cNvPr id="0" name=""/>
        <dsp:cNvSpPr/>
      </dsp:nvSpPr>
      <dsp:spPr>
        <a:xfrm>
          <a:off x="0" y="1097346"/>
          <a:ext cx="41148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baseline="0"/>
            <a:t>Private </a:t>
          </a:r>
          <a:r>
            <a:rPr lang="en-US" sz="2400" i="1" kern="1200" baseline="0"/>
            <a:t>or</a:t>
          </a:r>
          <a:r>
            <a:rPr lang="en-US" sz="2400" kern="1200" baseline="0"/>
            <a:t> Public</a:t>
          </a:r>
          <a:endParaRPr lang="en-US" sz="2400" kern="1200"/>
        </a:p>
      </dsp:txBody>
      <dsp:txXfrm>
        <a:off x="0" y="1097346"/>
        <a:ext cx="4114800" cy="548506"/>
      </dsp:txXfrm>
    </dsp:sp>
    <dsp:sp modelId="{DEC6C2E7-3E0D-4797-919A-88B4AF85E4A7}">
      <dsp:nvSpPr>
        <dsp:cNvPr id="0" name=""/>
        <dsp:cNvSpPr/>
      </dsp:nvSpPr>
      <dsp:spPr>
        <a:xfrm>
          <a:off x="0" y="1645853"/>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11889D-729E-428A-A742-4ACA61B9B9F4}">
      <dsp:nvSpPr>
        <dsp:cNvPr id="0" name=""/>
        <dsp:cNvSpPr/>
      </dsp:nvSpPr>
      <dsp:spPr>
        <a:xfrm>
          <a:off x="0" y="1645853"/>
          <a:ext cx="41148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baseline="0"/>
            <a:t>Optional README </a:t>
          </a:r>
          <a:endParaRPr lang="en-US" sz="2400" kern="1200"/>
        </a:p>
      </dsp:txBody>
      <dsp:txXfrm>
        <a:off x="0" y="1645853"/>
        <a:ext cx="4114800" cy="548506"/>
      </dsp:txXfrm>
    </dsp:sp>
    <dsp:sp modelId="{E5A93AE8-FC31-4E08-8EBA-A125CC0B014F}">
      <dsp:nvSpPr>
        <dsp:cNvPr id="0" name=""/>
        <dsp:cNvSpPr/>
      </dsp:nvSpPr>
      <dsp:spPr>
        <a:xfrm>
          <a:off x="0" y="2194359"/>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30C046-CB1E-442B-AA3A-3E7D3F7A9C72}">
      <dsp:nvSpPr>
        <dsp:cNvPr id="0" name=""/>
        <dsp:cNvSpPr/>
      </dsp:nvSpPr>
      <dsp:spPr>
        <a:xfrm>
          <a:off x="0" y="2194359"/>
          <a:ext cx="41148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baseline="0"/>
            <a:t>Option </a:t>
          </a:r>
          <a:r>
            <a:rPr lang="en-US" sz="2400" kern="1200" baseline="0" err="1"/>
            <a:t>gitignore</a:t>
          </a:r>
          <a:endParaRPr lang="en-US" sz="2400" kern="1200"/>
        </a:p>
      </dsp:txBody>
      <dsp:txXfrm>
        <a:off x="0" y="2194359"/>
        <a:ext cx="4114800" cy="54850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D68C9-6CD8-43D5-B5AC-EC6924A12609}">
      <dsp:nvSpPr>
        <dsp:cNvPr id="0" name=""/>
        <dsp:cNvSpPr/>
      </dsp:nvSpPr>
      <dsp:spPr>
        <a:xfrm>
          <a:off x="343925" y="862902"/>
          <a:ext cx="2715232" cy="1870794"/>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96B648-3D2A-45DE-956B-F4A18DEE617B}">
      <dsp:nvSpPr>
        <dsp:cNvPr id="0" name=""/>
        <dsp:cNvSpPr/>
      </dsp:nvSpPr>
      <dsp:spPr>
        <a:xfrm>
          <a:off x="2142" y="2660025"/>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baseline="0"/>
            <a:t>Obtain a </a:t>
          </a:r>
          <a:r>
            <a:rPr lang="en-US" sz="2400" b="1" kern="1200" baseline="0"/>
            <a:t>copy</a:t>
          </a:r>
          <a:r>
            <a:rPr lang="en-US" sz="2400" kern="1200" baseline="0"/>
            <a:t> of an already created project</a:t>
          </a:r>
          <a:endParaRPr lang="en-US" sz="2400" kern="1200"/>
        </a:p>
      </dsp:txBody>
      <dsp:txXfrm>
        <a:off x="2142" y="2660025"/>
        <a:ext cx="3398798" cy="1260954"/>
      </dsp:txXfrm>
    </dsp:sp>
    <dsp:sp modelId="{E9667798-6DA7-4324-A1AD-47C1A5275EFE}">
      <dsp:nvSpPr>
        <dsp:cNvPr id="0" name=""/>
        <dsp:cNvSpPr/>
      </dsp:nvSpPr>
      <dsp:spPr>
        <a:xfrm>
          <a:off x="4082746" y="862902"/>
          <a:ext cx="2715232" cy="1870794"/>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34F22F-1D4B-4C27-AFAB-AFA4B18B5EB5}">
      <dsp:nvSpPr>
        <dsp:cNvPr id="0" name=""/>
        <dsp:cNvSpPr/>
      </dsp:nvSpPr>
      <dsp:spPr>
        <a:xfrm>
          <a:off x="3740963" y="2660025"/>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baseline="0"/>
            <a:t>Generally, a </a:t>
          </a:r>
          <a:r>
            <a:rPr lang="en-US" sz="2400" b="1" kern="1200" baseline="0"/>
            <a:t>one-time</a:t>
          </a:r>
          <a:r>
            <a:rPr lang="en-US" sz="2400" kern="1200" baseline="0"/>
            <a:t> operation for a machine</a:t>
          </a:r>
          <a:endParaRPr lang="en-US" sz="2400" kern="1200"/>
        </a:p>
      </dsp:txBody>
      <dsp:txXfrm>
        <a:off x="3740963" y="2660025"/>
        <a:ext cx="3398798" cy="1260954"/>
      </dsp:txXfrm>
    </dsp:sp>
    <dsp:sp modelId="{FB5ED1DC-A81C-45C0-B597-34BF709DC919}">
      <dsp:nvSpPr>
        <dsp:cNvPr id="0" name=""/>
        <dsp:cNvSpPr/>
      </dsp:nvSpPr>
      <dsp:spPr>
        <a:xfrm>
          <a:off x="7821567" y="862902"/>
          <a:ext cx="2715232" cy="1870794"/>
        </a:xfrm>
        <a:prstGeom prst="round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08792-7E15-416C-8D50-5BF4650BDDB1}">
      <dsp:nvSpPr>
        <dsp:cNvPr id="0" name=""/>
        <dsp:cNvSpPr/>
      </dsp:nvSpPr>
      <dsp:spPr>
        <a:xfrm>
          <a:off x="7479784" y="2660025"/>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baseline="0"/>
            <a:t>Create and navigate to the </a:t>
          </a:r>
          <a:r>
            <a:rPr lang="en-US" sz="2400" b="1" kern="1200" baseline="0"/>
            <a:t>local folder </a:t>
          </a:r>
          <a:endParaRPr lang="en-US" sz="2400" b="1" kern="1200"/>
        </a:p>
      </dsp:txBody>
      <dsp:txXfrm>
        <a:off x="7479784" y="2660025"/>
        <a:ext cx="3398798" cy="126095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2257"/>
          <a:ext cx="10880725" cy="114435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346166" y="259737"/>
          <a:ext cx="629393" cy="62939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1321727" y="2257"/>
          <a:ext cx="9558997" cy="1144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11" tIns="121111" rIns="121111" bIns="121111" numCol="1" spcCol="1270" anchor="ctr" anchorCtr="0">
          <a:noAutofit/>
        </a:bodyPr>
        <a:lstStyle/>
        <a:p>
          <a:pPr marL="0" lvl="0" indent="0" algn="l" defTabSz="1066800">
            <a:lnSpc>
              <a:spcPct val="100000"/>
            </a:lnSpc>
            <a:spcBef>
              <a:spcPct val="0"/>
            </a:spcBef>
            <a:spcAft>
              <a:spcPct val="35000"/>
            </a:spcAft>
            <a:buNone/>
          </a:pPr>
          <a:r>
            <a:rPr lang="en-US" sz="2400" kern="1200"/>
            <a:t>Independent </a:t>
          </a:r>
          <a:r>
            <a:rPr lang="en-US" sz="2400" b="1" kern="1200"/>
            <a:t>copy</a:t>
          </a:r>
          <a:r>
            <a:rPr lang="en-US" sz="2400" kern="1200"/>
            <a:t> of the current repo with specific requirements</a:t>
          </a:r>
        </a:p>
      </dsp:txBody>
      <dsp:txXfrm>
        <a:off x="1321727" y="2257"/>
        <a:ext cx="9558997" cy="1144352"/>
      </dsp:txXfrm>
    </dsp:sp>
    <dsp:sp modelId="{B741ED80-2670-4C6C-9C67-DADFDA3811F5}">
      <dsp:nvSpPr>
        <dsp:cNvPr id="0" name=""/>
        <dsp:cNvSpPr/>
      </dsp:nvSpPr>
      <dsp:spPr>
        <a:xfrm>
          <a:off x="0" y="1432698"/>
          <a:ext cx="10880725" cy="114435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9E1B89-BE8F-4963-B466-BAD40C8840E0}">
      <dsp:nvSpPr>
        <dsp:cNvPr id="0" name=""/>
        <dsp:cNvSpPr/>
      </dsp:nvSpPr>
      <dsp:spPr>
        <a:xfrm>
          <a:off x="346166" y="1690178"/>
          <a:ext cx="629393" cy="62939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C63B25-DEDD-41F1-92EE-7E4C62FCFDA0}">
      <dsp:nvSpPr>
        <dsp:cNvPr id="0" name=""/>
        <dsp:cNvSpPr/>
      </dsp:nvSpPr>
      <dsp:spPr>
        <a:xfrm>
          <a:off x="1321727" y="1432698"/>
          <a:ext cx="9558997" cy="1144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11" tIns="121111" rIns="121111" bIns="121111" numCol="1" spcCol="1270" anchor="ctr" anchorCtr="0">
          <a:noAutofit/>
        </a:bodyPr>
        <a:lstStyle/>
        <a:p>
          <a:pPr marL="0" lvl="0" indent="0" algn="l" defTabSz="1066800">
            <a:lnSpc>
              <a:spcPct val="100000"/>
            </a:lnSpc>
            <a:spcBef>
              <a:spcPct val="0"/>
            </a:spcBef>
            <a:spcAft>
              <a:spcPct val="35000"/>
            </a:spcAft>
            <a:buNone/>
          </a:pPr>
          <a:r>
            <a:rPr lang="en-US" sz="2400" b="1" kern="1200"/>
            <a:t>Prevents</a:t>
          </a:r>
          <a:r>
            <a:rPr lang="en-US" sz="2400" kern="1200"/>
            <a:t> disturbing the main line of work</a:t>
          </a:r>
        </a:p>
      </dsp:txBody>
      <dsp:txXfrm>
        <a:off x="1321727" y="1432698"/>
        <a:ext cx="9558997" cy="1144352"/>
      </dsp:txXfrm>
    </dsp:sp>
    <dsp:sp modelId="{7AA102E4-F6D2-4E9C-83C0-1A5DEF30CB4F}">
      <dsp:nvSpPr>
        <dsp:cNvPr id="0" name=""/>
        <dsp:cNvSpPr/>
      </dsp:nvSpPr>
      <dsp:spPr>
        <a:xfrm>
          <a:off x="0" y="2863139"/>
          <a:ext cx="10880725" cy="114435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0F7E26-185C-40D7-A5BC-2629A92A041C}">
      <dsp:nvSpPr>
        <dsp:cNvPr id="0" name=""/>
        <dsp:cNvSpPr/>
      </dsp:nvSpPr>
      <dsp:spPr>
        <a:xfrm>
          <a:off x="346166" y="3120618"/>
          <a:ext cx="629393" cy="62939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295DE0F-E504-4089-9A1D-9A7FB52A041E}">
      <dsp:nvSpPr>
        <dsp:cNvPr id="0" name=""/>
        <dsp:cNvSpPr/>
      </dsp:nvSpPr>
      <dsp:spPr>
        <a:xfrm>
          <a:off x="1321727" y="2863139"/>
          <a:ext cx="9558997" cy="1144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11" tIns="121111" rIns="121111" bIns="121111" numCol="1" spcCol="1270" anchor="ctr" anchorCtr="0">
          <a:noAutofit/>
        </a:bodyPr>
        <a:lstStyle/>
        <a:p>
          <a:pPr marL="0" lvl="0" indent="0" algn="l" defTabSz="1066800">
            <a:lnSpc>
              <a:spcPct val="100000"/>
            </a:lnSpc>
            <a:spcBef>
              <a:spcPct val="0"/>
            </a:spcBef>
            <a:spcAft>
              <a:spcPct val="35000"/>
            </a:spcAft>
            <a:buNone/>
          </a:pPr>
          <a:r>
            <a:rPr lang="en-US" sz="2400" kern="1200"/>
            <a:t>Used for fixing </a:t>
          </a:r>
          <a:r>
            <a:rPr lang="en-US" sz="2400" b="1" kern="1200"/>
            <a:t>bugs</a:t>
          </a:r>
          <a:r>
            <a:rPr lang="en-US" sz="2400" kern="1200"/>
            <a:t>, developing new </a:t>
          </a:r>
          <a:r>
            <a:rPr lang="en-US" sz="2400" b="1" kern="1200"/>
            <a:t>features</a:t>
          </a:r>
          <a:r>
            <a:rPr lang="en-US" sz="2400" kern="1200"/>
            <a:t>, etc.</a:t>
          </a:r>
        </a:p>
      </dsp:txBody>
      <dsp:txXfrm>
        <a:off x="1321727" y="2863139"/>
        <a:ext cx="9558997" cy="1144352"/>
      </dsp:txXfrm>
    </dsp:sp>
    <dsp:sp modelId="{8F741CF4-E961-4934-8B5D-3D1C534E1716}">
      <dsp:nvSpPr>
        <dsp:cNvPr id="0" name=""/>
        <dsp:cNvSpPr/>
      </dsp:nvSpPr>
      <dsp:spPr>
        <a:xfrm>
          <a:off x="0" y="4293580"/>
          <a:ext cx="10880725" cy="114435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8D40EF-BE13-4441-880E-9E3FF1C694B3}">
      <dsp:nvSpPr>
        <dsp:cNvPr id="0" name=""/>
        <dsp:cNvSpPr/>
      </dsp:nvSpPr>
      <dsp:spPr>
        <a:xfrm>
          <a:off x="346166" y="4551059"/>
          <a:ext cx="629393" cy="62939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94A7688-7FF7-4CE3-831B-18160A6D531F}">
      <dsp:nvSpPr>
        <dsp:cNvPr id="0" name=""/>
        <dsp:cNvSpPr/>
      </dsp:nvSpPr>
      <dsp:spPr>
        <a:xfrm>
          <a:off x="1321727" y="4293580"/>
          <a:ext cx="9558997" cy="1144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11" tIns="121111" rIns="121111" bIns="121111" numCol="1" spcCol="1270" anchor="ctr" anchorCtr="0">
          <a:noAutofit/>
        </a:bodyPr>
        <a:lstStyle/>
        <a:p>
          <a:pPr marL="0" lvl="0" indent="0" algn="l" defTabSz="1066800">
            <a:lnSpc>
              <a:spcPct val="100000"/>
            </a:lnSpc>
            <a:spcBef>
              <a:spcPct val="0"/>
            </a:spcBef>
            <a:spcAft>
              <a:spcPct val="35000"/>
            </a:spcAft>
            <a:buNone/>
          </a:pPr>
          <a:r>
            <a:rPr lang="en-US" sz="2400" b="1" kern="1200"/>
            <a:t>Merged</a:t>
          </a:r>
          <a:r>
            <a:rPr lang="en-US" sz="2400" kern="1200"/>
            <a:t> back into main like a pull/push when work is complete</a:t>
          </a:r>
        </a:p>
      </dsp:txBody>
      <dsp:txXfrm>
        <a:off x="1321727" y="4293580"/>
        <a:ext cx="9558997" cy="11443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88860-0F5E-4B3B-8045-C5E7CE1A5A15}">
      <dsp:nvSpPr>
        <dsp:cNvPr id="0" name=""/>
        <dsp:cNvSpPr/>
      </dsp:nvSpPr>
      <dsp:spPr>
        <a:xfrm>
          <a:off x="0" y="0"/>
          <a:ext cx="504847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77B997-ADAB-43C7-A5B8-1A7731840B47}">
      <dsp:nvSpPr>
        <dsp:cNvPr id="0" name=""/>
        <dsp:cNvSpPr/>
      </dsp:nvSpPr>
      <dsp:spPr>
        <a:xfrm>
          <a:off x="0" y="0"/>
          <a:ext cx="5048476" cy="1379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Enable </a:t>
          </a:r>
          <a:r>
            <a:rPr lang="en-US" sz="2500" b="1" kern="1200" baseline="0"/>
            <a:t>continuous delivery </a:t>
          </a:r>
          <a:r>
            <a:rPr lang="en-US" sz="2500" kern="1200" baseline="0"/>
            <a:t>for rapid feedback and improvements </a:t>
          </a:r>
          <a:endParaRPr lang="en-US" sz="2500" kern="1200"/>
        </a:p>
      </dsp:txBody>
      <dsp:txXfrm>
        <a:off x="0" y="0"/>
        <a:ext cx="5048476" cy="1379696"/>
      </dsp:txXfrm>
    </dsp:sp>
    <dsp:sp modelId="{C8ADB0AE-A700-499B-B7F7-1FBED6EDACFA}">
      <dsp:nvSpPr>
        <dsp:cNvPr id="0" name=""/>
        <dsp:cNvSpPr/>
      </dsp:nvSpPr>
      <dsp:spPr>
        <a:xfrm>
          <a:off x="0" y="1379696"/>
          <a:ext cx="504847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C6F7B1-BDEC-4386-BE48-45EECB4FE37D}">
      <dsp:nvSpPr>
        <dsp:cNvPr id="0" name=""/>
        <dsp:cNvSpPr/>
      </dsp:nvSpPr>
      <dsp:spPr>
        <a:xfrm>
          <a:off x="0" y="1379696"/>
          <a:ext cx="5048476" cy="1379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Harmonize development and operations teams to </a:t>
          </a:r>
          <a:r>
            <a:rPr lang="en-US" sz="2500" b="1" kern="1200" baseline="0"/>
            <a:t>work together</a:t>
          </a:r>
          <a:endParaRPr lang="en-US" sz="2500" kern="1200"/>
        </a:p>
      </dsp:txBody>
      <dsp:txXfrm>
        <a:off x="0" y="1379696"/>
        <a:ext cx="5048476" cy="1379696"/>
      </dsp:txXfrm>
    </dsp:sp>
    <dsp:sp modelId="{D187D353-D25D-4A78-8FC1-C80A34905787}">
      <dsp:nvSpPr>
        <dsp:cNvPr id="0" name=""/>
        <dsp:cNvSpPr/>
      </dsp:nvSpPr>
      <dsp:spPr>
        <a:xfrm>
          <a:off x="0" y="2759392"/>
          <a:ext cx="504847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4668F4-B6DD-43DB-8E79-28223EDFB92E}">
      <dsp:nvSpPr>
        <dsp:cNvPr id="0" name=""/>
        <dsp:cNvSpPr/>
      </dsp:nvSpPr>
      <dsp:spPr>
        <a:xfrm>
          <a:off x="0" y="2759392"/>
          <a:ext cx="5048476" cy="1379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b="1" kern="1200" baseline="0"/>
            <a:t>Process</a:t>
          </a:r>
          <a:r>
            <a:rPr lang="en-US" sz="2500" kern="1200" baseline="0"/>
            <a:t> </a:t>
          </a:r>
          <a:r>
            <a:rPr lang="en-US" sz="2500" b="1" kern="1200" baseline="0"/>
            <a:t>focused</a:t>
          </a:r>
          <a:r>
            <a:rPr lang="en-US" sz="2500" kern="1200" baseline="0"/>
            <a:t> to provide smoothest experience</a:t>
          </a:r>
          <a:endParaRPr lang="en-US" sz="2500" kern="1200"/>
        </a:p>
      </dsp:txBody>
      <dsp:txXfrm>
        <a:off x="0" y="2759392"/>
        <a:ext cx="5048476" cy="1379696"/>
      </dsp:txXfrm>
    </dsp:sp>
    <dsp:sp modelId="{BFF36FB9-D044-4C98-8894-0AEF9D69614D}">
      <dsp:nvSpPr>
        <dsp:cNvPr id="0" name=""/>
        <dsp:cNvSpPr/>
      </dsp:nvSpPr>
      <dsp:spPr>
        <a:xfrm>
          <a:off x="0" y="4139088"/>
          <a:ext cx="504847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A8FB16-63C7-49C6-9668-A9D3000C1D02}">
      <dsp:nvSpPr>
        <dsp:cNvPr id="0" name=""/>
        <dsp:cNvSpPr/>
      </dsp:nvSpPr>
      <dsp:spPr>
        <a:xfrm>
          <a:off x="0" y="4139088"/>
          <a:ext cx="5048476" cy="1379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Requires shift in </a:t>
          </a:r>
          <a:r>
            <a:rPr lang="en-US" sz="2500" b="1" kern="1200" baseline="0"/>
            <a:t>mindset</a:t>
          </a:r>
          <a:r>
            <a:rPr lang="en-US" sz="2500" kern="1200" baseline="0"/>
            <a:t> and company </a:t>
          </a:r>
          <a:r>
            <a:rPr lang="en-US" sz="2500" b="1" kern="1200" baseline="0"/>
            <a:t>culture</a:t>
          </a:r>
          <a:endParaRPr lang="en-US" sz="2500" kern="1200"/>
        </a:p>
      </dsp:txBody>
      <dsp:txXfrm>
        <a:off x="0" y="4139088"/>
        <a:ext cx="5048476" cy="137969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4358"/>
          <a:ext cx="10880725" cy="92843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280852" y="213257"/>
          <a:ext cx="510640" cy="51064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1072344" y="4358"/>
          <a:ext cx="9808380" cy="9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0" tIns="98260" rIns="98260" bIns="98260" numCol="1" spcCol="1270" anchor="ctr" anchorCtr="0">
          <a:noAutofit/>
        </a:bodyPr>
        <a:lstStyle/>
        <a:p>
          <a:pPr marL="0" lvl="0" indent="0" algn="l" defTabSz="889000">
            <a:lnSpc>
              <a:spcPct val="100000"/>
            </a:lnSpc>
            <a:spcBef>
              <a:spcPct val="0"/>
            </a:spcBef>
            <a:spcAft>
              <a:spcPct val="35000"/>
            </a:spcAft>
            <a:buNone/>
          </a:pPr>
          <a:r>
            <a:rPr lang="en-US" sz="2000" b="1" kern="1200"/>
            <a:t>Create</a:t>
          </a:r>
          <a:r>
            <a:rPr lang="en-US" sz="2000" kern="1200"/>
            <a:t> a </a:t>
          </a:r>
          <a:r>
            <a:rPr lang="en-US" sz="2000" b="0" kern="1200"/>
            <a:t>new</a:t>
          </a:r>
          <a:r>
            <a:rPr lang="en-US" sz="2000" kern="1200"/>
            <a:t> branch: </a:t>
          </a:r>
          <a:r>
            <a:rPr lang="en-AU" sz="2000" kern="1200">
              <a:solidFill>
                <a:schemeClr val="accent1"/>
              </a:solidFill>
              <a:latin typeface="Lucida Console"/>
            </a:rPr>
            <a:t>git</a:t>
          </a:r>
          <a:r>
            <a:rPr lang="en-US" sz="2000" kern="1200">
              <a:solidFill>
                <a:schemeClr val="accent1"/>
              </a:solidFill>
              <a:latin typeface="Lucida Console" panose="020B0609040504020204" pitchFamily="49" charset="0"/>
            </a:rPr>
            <a:t> branch </a:t>
          </a:r>
          <a:r>
            <a:rPr lang="en-US" sz="2000" kern="1200" err="1">
              <a:solidFill>
                <a:schemeClr val="accent1"/>
              </a:solidFill>
              <a:latin typeface="Lucida Console" panose="020B0609040504020204" pitchFamily="49" charset="0"/>
            </a:rPr>
            <a:t>BranchName</a:t>
          </a:r>
          <a:r>
            <a:rPr lang="en-US" sz="2000" b="0" kern="1200">
              <a:solidFill>
                <a:schemeClr val="accent1"/>
              </a:solidFill>
            </a:rPr>
            <a:t> </a:t>
          </a:r>
          <a:endParaRPr lang="en-US" sz="2000" kern="1200">
            <a:solidFill>
              <a:schemeClr val="accent1"/>
            </a:solidFill>
          </a:endParaRPr>
        </a:p>
      </dsp:txBody>
      <dsp:txXfrm>
        <a:off x="1072344" y="4358"/>
        <a:ext cx="9808380" cy="928436"/>
      </dsp:txXfrm>
    </dsp:sp>
    <dsp:sp modelId="{B741ED80-2670-4C6C-9C67-DADFDA3811F5}">
      <dsp:nvSpPr>
        <dsp:cNvPr id="0" name=""/>
        <dsp:cNvSpPr/>
      </dsp:nvSpPr>
      <dsp:spPr>
        <a:xfrm>
          <a:off x="0" y="1164904"/>
          <a:ext cx="10880725" cy="92843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9E1B89-BE8F-4963-B466-BAD40C8840E0}">
      <dsp:nvSpPr>
        <dsp:cNvPr id="0" name=""/>
        <dsp:cNvSpPr/>
      </dsp:nvSpPr>
      <dsp:spPr>
        <a:xfrm>
          <a:off x="280852" y="1373803"/>
          <a:ext cx="510640" cy="51064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C63B25-DEDD-41F1-92EE-7E4C62FCFDA0}">
      <dsp:nvSpPr>
        <dsp:cNvPr id="0" name=""/>
        <dsp:cNvSpPr/>
      </dsp:nvSpPr>
      <dsp:spPr>
        <a:xfrm>
          <a:off x="1072344" y="1164904"/>
          <a:ext cx="9808380" cy="9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0" tIns="98260" rIns="98260" bIns="98260" numCol="1" spcCol="1270" anchor="ctr" anchorCtr="0">
          <a:noAutofit/>
        </a:bodyPr>
        <a:lstStyle/>
        <a:p>
          <a:pPr marL="0" lvl="0" indent="0" algn="l" defTabSz="889000">
            <a:lnSpc>
              <a:spcPct val="100000"/>
            </a:lnSpc>
            <a:spcBef>
              <a:spcPct val="0"/>
            </a:spcBef>
            <a:spcAft>
              <a:spcPct val="35000"/>
            </a:spcAft>
            <a:buNone/>
          </a:pPr>
          <a:r>
            <a:rPr lang="en-US" sz="2000" b="1" kern="1200"/>
            <a:t>Switch</a:t>
          </a:r>
          <a:r>
            <a:rPr lang="en-US" sz="2000" kern="1200"/>
            <a:t> to a branch: </a:t>
          </a:r>
          <a:r>
            <a:rPr lang="en-AU" sz="2000" kern="1200">
              <a:solidFill>
                <a:schemeClr val="accent1"/>
              </a:solidFill>
              <a:latin typeface="Lucida Console"/>
            </a:rPr>
            <a:t>git</a:t>
          </a:r>
          <a:r>
            <a:rPr lang="en-US" sz="2000" kern="1200">
              <a:solidFill>
                <a:schemeClr val="accent1"/>
              </a:solidFill>
              <a:latin typeface="Lucida Console" panose="020B0609040504020204" pitchFamily="49" charset="0"/>
            </a:rPr>
            <a:t> checkout </a:t>
          </a:r>
          <a:r>
            <a:rPr lang="en-US" sz="2000" kern="1200" err="1">
              <a:solidFill>
                <a:schemeClr val="accent1"/>
              </a:solidFill>
              <a:latin typeface="Lucida Console" panose="020B0609040504020204" pitchFamily="49" charset="0"/>
            </a:rPr>
            <a:t>BranchName</a:t>
          </a:r>
          <a:r>
            <a:rPr lang="en-US" sz="2000" b="0" kern="1200">
              <a:solidFill>
                <a:schemeClr val="accent1"/>
              </a:solidFill>
            </a:rPr>
            <a:t> </a:t>
          </a:r>
          <a:endParaRPr lang="en-US" sz="2000" kern="1200">
            <a:solidFill>
              <a:schemeClr val="accent1"/>
            </a:solidFill>
          </a:endParaRPr>
        </a:p>
      </dsp:txBody>
      <dsp:txXfrm>
        <a:off x="1072344" y="1164904"/>
        <a:ext cx="9808380" cy="928436"/>
      </dsp:txXfrm>
    </dsp:sp>
    <dsp:sp modelId="{7AA102E4-F6D2-4E9C-83C0-1A5DEF30CB4F}">
      <dsp:nvSpPr>
        <dsp:cNvPr id="0" name=""/>
        <dsp:cNvSpPr/>
      </dsp:nvSpPr>
      <dsp:spPr>
        <a:xfrm>
          <a:off x="0" y="2325450"/>
          <a:ext cx="10880725" cy="92843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0F7E26-185C-40D7-A5BC-2629A92A041C}">
      <dsp:nvSpPr>
        <dsp:cNvPr id="0" name=""/>
        <dsp:cNvSpPr/>
      </dsp:nvSpPr>
      <dsp:spPr>
        <a:xfrm>
          <a:off x="280852" y="2534348"/>
          <a:ext cx="510640" cy="51064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295DE0F-E504-4089-9A1D-9A7FB52A041E}">
      <dsp:nvSpPr>
        <dsp:cNvPr id="0" name=""/>
        <dsp:cNvSpPr/>
      </dsp:nvSpPr>
      <dsp:spPr>
        <a:xfrm>
          <a:off x="1072344" y="2325450"/>
          <a:ext cx="9808380" cy="9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0" tIns="98260" rIns="98260" bIns="98260" numCol="1" spcCol="1270" anchor="ctr" anchorCtr="0">
          <a:noAutofit/>
        </a:bodyPr>
        <a:lstStyle/>
        <a:p>
          <a:pPr marL="0" lvl="0" indent="0" algn="l" defTabSz="889000">
            <a:lnSpc>
              <a:spcPct val="100000"/>
            </a:lnSpc>
            <a:spcBef>
              <a:spcPct val="0"/>
            </a:spcBef>
            <a:spcAft>
              <a:spcPct val="35000"/>
            </a:spcAft>
            <a:buNone/>
          </a:pPr>
          <a:r>
            <a:rPr lang="en-US" sz="2000" kern="1200"/>
            <a:t>Do </a:t>
          </a:r>
          <a:r>
            <a:rPr lang="en-US" sz="2000" b="1" kern="1200"/>
            <a:t>both</a:t>
          </a:r>
          <a:r>
            <a:rPr lang="en-US" sz="2000" kern="1200"/>
            <a:t> in one step: </a:t>
          </a:r>
          <a:r>
            <a:rPr lang="en-AU" sz="2000" kern="1200">
              <a:solidFill>
                <a:schemeClr val="accent1"/>
              </a:solidFill>
              <a:latin typeface="Lucida Console"/>
            </a:rPr>
            <a:t>git</a:t>
          </a:r>
          <a:r>
            <a:rPr lang="en-US" sz="2000" kern="1200">
              <a:solidFill>
                <a:schemeClr val="accent1"/>
              </a:solidFill>
              <a:latin typeface="Lucida Console" panose="020B0609040504020204" pitchFamily="49" charset="0"/>
            </a:rPr>
            <a:t> checkout –b </a:t>
          </a:r>
          <a:r>
            <a:rPr lang="en-US" sz="2000" kern="1200" err="1">
              <a:solidFill>
                <a:schemeClr val="accent1"/>
              </a:solidFill>
              <a:latin typeface="Lucida Console" panose="020B0609040504020204" pitchFamily="49" charset="0"/>
            </a:rPr>
            <a:t>BranchName</a:t>
          </a:r>
          <a:r>
            <a:rPr lang="en-US" sz="2000" b="0" kern="1200">
              <a:solidFill>
                <a:schemeClr val="accent1"/>
              </a:solidFill>
            </a:rPr>
            <a:t> </a:t>
          </a:r>
          <a:endParaRPr lang="en-US" sz="2000" kern="1200">
            <a:solidFill>
              <a:schemeClr val="accent1"/>
            </a:solidFill>
          </a:endParaRPr>
        </a:p>
      </dsp:txBody>
      <dsp:txXfrm>
        <a:off x="1072344" y="2325450"/>
        <a:ext cx="9808380" cy="928436"/>
      </dsp:txXfrm>
    </dsp:sp>
    <dsp:sp modelId="{8F741CF4-E961-4934-8B5D-3D1C534E1716}">
      <dsp:nvSpPr>
        <dsp:cNvPr id="0" name=""/>
        <dsp:cNvSpPr/>
      </dsp:nvSpPr>
      <dsp:spPr>
        <a:xfrm>
          <a:off x="0" y="3485996"/>
          <a:ext cx="10880725" cy="92843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8D40EF-BE13-4441-880E-9E3FF1C694B3}">
      <dsp:nvSpPr>
        <dsp:cNvPr id="0" name=""/>
        <dsp:cNvSpPr/>
      </dsp:nvSpPr>
      <dsp:spPr>
        <a:xfrm>
          <a:off x="280852" y="3694894"/>
          <a:ext cx="510640" cy="51064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94A7688-7FF7-4CE3-831B-18160A6D531F}">
      <dsp:nvSpPr>
        <dsp:cNvPr id="0" name=""/>
        <dsp:cNvSpPr/>
      </dsp:nvSpPr>
      <dsp:spPr>
        <a:xfrm>
          <a:off x="1072344" y="3485996"/>
          <a:ext cx="9808380" cy="9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0" tIns="98260" rIns="98260" bIns="98260" numCol="1" spcCol="1270" anchor="ctr" anchorCtr="0">
          <a:noAutofit/>
        </a:bodyPr>
        <a:lstStyle/>
        <a:p>
          <a:pPr marL="0" lvl="0" indent="0" algn="l" defTabSz="889000">
            <a:lnSpc>
              <a:spcPct val="100000"/>
            </a:lnSpc>
            <a:spcBef>
              <a:spcPct val="0"/>
            </a:spcBef>
            <a:spcAft>
              <a:spcPct val="35000"/>
            </a:spcAft>
            <a:buNone/>
          </a:pPr>
          <a:r>
            <a:rPr lang="en-US" sz="2000" b="0" kern="1200"/>
            <a:t>Merge code </a:t>
          </a:r>
          <a:r>
            <a:rPr lang="en-US" sz="2000" b="1" kern="1200"/>
            <a:t>FROM</a:t>
          </a:r>
          <a:r>
            <a:rPr lang="en-US" sz="2000" b="0" kern="1200"/>
            <a:t> a branch </a:t>
          </a:r>
          <a:r>
            <a:rPr lang="en-US" sz="2000" b="1" kern="1200"/>
            <a:t>INTO</a:t>
          </a:r>
          <a:r>
            <a:rPr lang="en-US" sz="2000" b="0" kern="1200"/>
            <a:t> current branch:</a:t>
          </a:r>
          <a:r>
            <a:rPr lang="en-US" sz="2000" b="1" kern="1200"/>
            <a:t> </a:t>
          </a:r>
          <a:r>
            <a:rPr lang="en-AU" sz="2000" kern="1200">
              <a:solidFill>
                <a:schemeClr val="accent1"/>
              </a:solidFill>
              <a:latin typeface="Lucida Console"/>
            </a:rPr>
            <a:t>git</a:t>
          </a:r>
          <a:r>
            <a:rPr lang="en-US" sz="2000" kern="1200">
              <a:solidFill>
                <a:schemeClr val="accent1"/>
              </a:solidFill>
              <a:latin typeface="Lucida Console" panose="020B0609040504020204" pitchFamily="49" charset="0"/>
            </a:rPr>
            <a:t> merge </a:t>
          </a:r>
          <a:r>
            <a:rPr lang="en-US" sz="2000" kern="1200" err="1">
              <a:solidFill>
                <a:schemeClr val="accent1"/>
              </a:solidFill>
              <a:latin typeface="Lucida Console" panose="020B0609040504020204" pitchFamily="49" charset="0"/>
            </a:rPr>
            <a:t>BranchName</a:t>
          </a:r>
          <a:r>
            <a:rPr lang="en-US" sz="2000" b="0" kern="1200">
              <a:solidFill>
                <a:schemeClr val="accent1"/>
              </a:solidFill>
            </a:rPr>
            <a:t> </a:t>
          </a:r>
          <a:endParaRPr lang="en-US" sz="2000" b="1" kern="1200">
            <a:solidFill>
              <a:schemeClr val="accent1"/>
            </a:solidFill>
          </a:endParaRPr>
        </a:p>
      </dsp:txBody>
      <dsp:txXfrm>
        <a:off x="1072344" y="3485996"/>
        <a:ext cx="9808380" cy="928436"/>
      </dsp:txXfrm>
    </dsp:sp>
    <dsp:sp modelId="{423E4218-013E-487D-B490-0D2D6186B2F8}">
      <dsp:nvSpPr>
        <dsp:cNvPr id="0" name=""/>
        <dsp:cNvSpPr/>
      </dsp:nvSpPr>
      <dsp:spPr>
        <a:xfrm>
          <a:off x="0" y="4646542"/>
          <a:ext cx="10880725" cy="92843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540889-F361-439A-850C-1B636B8957B5}">
      <dsp:nvSpPr>
        <dsp:cNvPr id="0" name=""/>
        <dsp:cNvSpPr/>
      </dsp:nvSpPr>
      <dsp:spPr>
        <a:xfrm>
          <a:off x="280852" y="4855440"/>
          <a:ext cx="510640" cy="51064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AFCE01-DB1D-4EE2-A04E-5CFE36BD8565}">
      <dsp:nvSpPr>
        <dsp:cNvPr id="0" name=""/>
        <dsp:cNvSpPr/>
      </dsp:nvSpPr>
      <dsp:spPr>
        <a:xfrm>
          <a:off x="1072344" y="4646542"/>
          <a:ext cx="9808380" cy="9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0" tIns="98260" rIns="98260" bIns="98260" numCol="1" spcCol="1270" anchor="ctr" anchorCtr="0">
          <a:noAutofit/>
        </a:bodyPr>
        <a:lstStyle/>
        <a:p>
          <a:pPr marL="0" lvl="0" indent="0" algn="l" defTabSz="889000">
            <a:lnSpc>
              <a:spcPct val="100000"/>
            </a:lnSpc>
            <a:spcBef>
              <a:spcPct val="0"/>
            </a:spcBef>
            <a:spcAft>
              <a:spcPct val="35000"/>
            </a:spcAft>
            <a:buNone/>
          </a:pPr>
          <a:r>
            <a:rPr lang="en-US" sz="2000" b="1" kern="1200"/>
            <a:t>Delete</a:t>
          </a:r>
          <a:r>
            <a:rPr lang="en-US" sz="2000" b="0" kern="1200"/>
            <a:t> a branch: </a:t>
          </a:r>
          <a:r>
            <a:rPr lang="en-AU" sz="2000" kern="1200">
              <a:solidFill>
                <a:schemeClr val="accent1"/>
              </a:solidFill>
              <a:latin typeface="Lucida Console"/>
            </a:rPr>
            <a:t>git</a:t>
          </a:r>
          <a:r>
            <a:rPr lang="en-US" sz="2000" kern="1200">
              <a:solidFill>
                <a:schemeClr val="accent1"/>
              </a:solidFill>
              <a:latin typeface="Lucida Console" panose="020B0609040504020204" pitchFamily="49" charset="0"/>
            </a:rPr>
            <a:t> branch –d </a:t>
          </a:r>
          <a:r>
            <a:rPr lang="en-US" sz="2000" kern="1200" err="1">
              <a:solidFill>
                <a:schemeClr val="accent1"/>
              </a:solidFill>
              <a:latin typeface="Lucida Console" panose="020B0609040504020204" pitchFamily="49" charset="0"/>
            </a:rPr>
            <a:t>BranchName</a:t>
          </a:r>
          <a:r>
            <a:rPr lang="en-US" sz="2000" b="0" kern="1200">
              <a:solidFill>
                <a:schemeClr val="accent1"/>
              </a:solidFill>
            </a:rPr>
            <a:t> </a:t>
          </a:r>
          <a:endParaRPr lang="en-US" sz="2000" b="1" kern="1200">
            <a:solidFill>
              <a:schemeClr val="accent1"/>
            </a:solidFill>
          </a:endParaRPr>
        </a:p>
      </dsp:txBody>
      <dsp:txXfrm>
        <a:off x="1072344" y="4646542"/>
        <a:ext cx="9808380" cy="92843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1862"/>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240019" y="180388"/>
          <a:ext cx="436398" cy="43639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916437" y="1862"/>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kern="1200"/>
            <a:t>Keep them </a:t>
          </a:r>
          <a:r>
            <a:rPr lang="en-US" sz="2000" b="1" kern="1200"/>
            <a:t>simple</a:t>
          </a:r>
        </a:p>
      </dsp:txBody>
      <dsp:txXfrm>
        <a:off x="916437" y="1862"/>
        <a:ext cx="9964287" cy="793452"/>
      </dsp:txXfrm>
    </dsp:sp>
    <dsp:sp modelId="{758AE0BD-321A-4CC5-A051-915683EDB9F9}">
      <dsp:nvSpPr>
        <dsp:cNvPr id="0" name=""/>
        <dsp:cNvSpPr/>
      </dsp:nvSpPr>
      <dsp:spPr>
        <a:xfrm>
          <a:off x="0" y="993677"/>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342914-66E3-4A4B-B9DA-60B92585FF5B}">
      <dsp:nvSpPr>
        <dsp:cNvPr id="0" name=""/>
        <dsp:cNvSpPr/>
      </dsp:nvSpPr>
      <dsp:spPr>
        <a:xfrm>
          <a:off x="240019" y="1172204"/>
          <a:ext cx="436398" cy="43639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7E0CE1-6F05-4378-B0D4-6A63D3E2A0A5}">
      <dsp:nvSpPr>
        <dsp:cNvPr id="0" name=""/>
        <dsp:cNvSpPr/>
      </dsp:nvSpPr>
      <dsp:spPr>
        <a:xfrm>
          <a:off x="916437" y="993677"/>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kern="1200"/>
            <a:t>Keep a high quality, </a:t>
          </a:r>
          <a:r>
            <a:rPr lang="en-US" sz="2000" b="1" kern="1200"/>
            <a:t>up-to-date main</a:t>
          </a:r>
          <a:r>
            <a:rPr lang="en-US" sz="2000" kern="1200"/>
            <a:t> branch that always builds</a:t>
          </a:r>
        </a:p>
      </dsp:txBody>
      <dsp:txXfrm>
        <a:off x="916437" y="993677"/>
        <a:ext cx="9964287" cy="793452"/>
      </dsp:txXfrm>
    </dsp:sp>
    <dsp:sp modelId="{1E4B4EDB-2072-4AC0-A9BF-5D788861C579}">
      <dsp:nvSpPr>
        <dsp:cNvPr id="0" name=""/>
        <dsp:cNvSpPr/>
      </dsp:nvSpPr>
      <dsp:spPr>
        <a:xfrm>
          <a:off x="0" y="1985493"/>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17CFB6-86A6-4A72-A5F7-63C25D2656EA}">
      <dsp:nvSpPr>
        <dsp:cNvPr id="0" name=""/>
        <dsp:cNvSpPr/>
      </dsp:nvSpPr>
      <dsp:spPr>
        <a:xfrm>
          <a:off x="240019" y="2164020"/>
          <a:ext cx="436398" cy="43639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6A30BD-5651-4AA3-ADAD-0DA8F2198F7C}">
      <dsp:nvSpPr>
        <dsp:cNvPr id="0" name=""/>
        <dsp:cNvSpPr/>
      </dsp:nvSpPr>
      <dsp:spPr>
        <a:xfrm>
          <a:off x="916437" y="1985493"/>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kern="1200"/>
            <a:t>Use a </a:t>
          </a:r>
          <a:r>
            <a:rPr lang="en-US" sz="2000" b="1" kern="1200"/>
            <a:t>dev branch </a:t>
          </a:r>
          <a:r>
            <a:rPr lang="en-US" sz="2000" kern="1200"/>
            <a:t>to keep in-progress code away from the main branch</a:t>
          </a:r>
        </a:p>
      </dsp:txBody>
      <dsp:txXfrm>
        <a:off x="916437" y="1985493"/>
        <a:ext cx="9964287" cy="793452"/>
      </dsp:txXfrm>
    </dsp:sp>
    <dsp:sp modelId="{A44BBA08-8DEC-4D6D-B805-A47E6E867FFF}">
      <dsp:nvSpPr>
        <dsp:cNvPr id="0" name=""/>
        <dsp:cNvSpPr/>
      </dsp:nvSpPr>
      <dsp:spPr>
        <a:xfrm>
          <a:off x="0" y="2977309"/>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3F7450-142E-4DF0-9E18-322B707C50C8}">
      <dsp:nvSpPr>
        <dsp:cNvPr id="0" name=""/>
        <dsp:cNvSpPr/>
      </dsp:nvSpPr>
      <dsp:spPr>
        <a:xfrm>
          <a:off x="240019" y="3155835"/>
          <a:ext cx="436398" cy="43639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8C697C-A4A9-4BA0-8850-C900DD52C1C4}">
      <dsp:nvSpPr>
        <dsp:cNvPr id="0" name=""/>
        <dsp:cNvSpPr/>
      </dsp:nvSpPr>
      <dsp:spPr>
        <a:xfrm>
          <a:off x="916437" y="2977309"/>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kern="1200"/>
            <a:t>Use </a:t>
          </a:r>
          <a:r>
            <a:rPr lang="en-US" sz="2000" b="1" kern="1200"/>
            <a:t>feature branches </a:t>
          </a:r>
          <a:r>
            <a:rPr lang="en-US" sz="2000" kern="1200"/>
            <a:t>for new features or bug fixes in </a:t>
          </a:r>
          <a:r>
            <a:rPr lang="en-US" sz="2000" b="1" kern="1200"/>
            <a:t>large</a:t>
          </a:r>
          <a:r>
            <a:rPr lang="en-US" sz="2000" kern="1200"/>
            <a:t> projects with many teams</a:t>
          </a:r>
        </a:p>
      </dsp:txBody>
      <dsp:txXfrm>
        <a:off x="916437" y="2977309"/>
        <a:ext cx="9964287" cy="793452"/>
      </dsp:txXfrm>
    </dsp:sp>
    <dsp:sp modelId="{6EC0197D-E250-488A-92A8-0CC3BBE07638}">
      <dsp:nvSpPr>
        <dsp:cNvPr id="0" name=""/>
        <dsp:cNvSpPr/>
      </dsp:nvSpPr>
      <dsp:spPr>
        <a:xfrm>
          <a:off x="0" y="3969124"/>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B780EB-9810-48F9-8712-AFAD80ECF7FD}">
      <dsp:nvSpPr>
        <dsp:cNvPr id="0" name=""/>
        <dsp:cNvSpPr/>
      </dsp:nvSpPr>
      <dsp:spPr>
        <a:xfrm>
          <a:off x="240019" y="4147651"/>
          <a:ext cx="436398" cy="43639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CA9C20-5C16-403B-806B-78E45DF77B58}">
      <dsp:nvSpPr>
        <dsp:cNvPr id="0" name=""/>
        <dsp:cNvSpPr/>
      </dsp:nvSpPr>
      <dsp:spPr>
        <a:xfrm>
          <a:off x="916437" y="3969124"/>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kern="1200"/>
            <a:t>Use </a:t>
          </a:r>
          <a:r>
            <a:rPr lang="en-US" sz="2000" b="1" kern="1200"/>
            <a:t>release branches </a:t>
          </a:r>
          <a:r>
            <a:rPr lang="en-US" sz="2000" kern="1200"/>
            <a:t>on larger </a:t>
          </a:r>
          <a:r>
            <a:rPr lang="en-US" sz="2000" b="1" kern="1200"/>
            <a:t>multi-version</a:t>
          </a:r>
          <a:r>
            <a:rPr lang="en-US" sz="2000" kern="1200"/>
            <a:t> projects</a:t>
          </a:r>
        </a:p>
      </dsp:txBody>
      <dsp:txXfrm>
        <a:off x="916437" y="3969124"/>
        <a:ext cx="9964287" cy="793452"/>
      </dsp:txXfrm>
    </dsp:sp>
    <dsp:sp modelId="{189C0E66-9311-47E5-8B2A-2556219332B4}">
      <dsp:nvSpPr>
        <dsp:cNvPr id="0" name=""/>
        <dsp:cNvSpPr/>
      </dsp:nvSpPr>
      <dsp:spPr>
        <a:xfrm>
          <a:off x="0" y="4960940"/>
          <a:ext cx="10880725" cy="793452"/>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5D0146-840D-41FF-A296-AF71FBB1E31A}">
      <dsp:nvSpPr>
        <dsp:cNvPr id="0" name=""/>
        <dsp:cNvSpPr/>
      </dsp:nvSpPr>
      <dsp:spPr>
        <a:xfrm>
          <a:off x="240019" y="5139467"/>
          <a:ext cx="436398" cy="43639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9D4439-F4B6-4A76-B9A6-7898276B89BA}">
      <dsp:nvSpPr>
        <dsp:cNvPr id="0" name=""/>
        <dsp:cNvSpPr/>
      </dsp:nvSpPr>
      <dsp:spPr>
        <a:xfrm>
          <a:off x="916437" y="4960940"/>
          <a:ext cx="9964287" cy="793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974" tIns="83974" rIns="83974" bIns="83974" numCol="1" spcCol="1270" anchor="ctr" anchorCtr="0">
          <a:noAutofit/>
        </a:bodyPr>
        <a:lstStyle/>
        <a:p>
          <a:pPr marL="0" lvl="0" indent="0" algn="l" defTabSz="889000">
            <a:lnSpc>
              <a:spcPct val="100000"/>
            </a:lnSpc>
            <a:spcBef>
              <a:spcPct val="0"/>
            </a:spcBef>
            <a:spcAft>
              <a:spcPct val="35000"/>
            </a:spcAft>
            <a:buNone/>
          </a:pPr>
          <a:r>
            <a:rPr lang="en-US" sz="2000" b="1" kern="1200"/>
            <a:t>Merge</a:t>
          </a:r>
          <a:r>
            <a:rPr lang="en-US" sz="2000" kern="1200"/>
            <a:t> changes </a:t>
          </a:r>
          <a:r>
            <a:rPr lang="en-US" sz="2000" b="0" kern="1200"/>
            <a:t>from</a:t>
          </a:r>
          <a:r>
            <a:rPr lang="en-US" sz="2000" kern="1200"/>
            <a:t> the main branch </a:t>
          </a:r>
          <a:r>
            <a:rPr lang="en-US" sz="2000" b="1" kern="1200"/>
            <a:t>regularly</a:t>
          </a:r>
          <a:r>
            <a:rPr lang="en-US" sz="2000" kern="1200"/>
            <a:t> if working with multiple branches</a:t>
          </a:r>
        </a:p>
      </dsp:txBody>
      <dsp:txXfrm>
        <a:off x="916437" y="4960940"/>
        <a:ext cx="9964287" cy="793452"/>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AE6574-440E-4D9B-A079-F2AC5CB72A53}">
      <dsp:nvSpPr>
        <dsp:cNvPr id="0" name=""/>
        <dsp:cNvSpPr/>
      </dsp:nvSpPr>
      <dsp:spPr>
        <a:xfrm>
          <a:off x="445346" y="0"/>
          <a:ext cx="5418667" cy="5418667"/>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C348BA7-06B1-4FBE-86D5-24D23FE7E207}">
      <dsp:nvSpPr>
        <dsp:cNvPr id="0" name=""/>
        <dsp:cNvSpPr/>
      </dsp:nvSpPr>
      <dsp:spPr>
        <a:xfrm>
          <a:off x="960119" y="514773"/>
          <a:ext cx="2113280" cy="2113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t>Alternative</a:t>
          </a:r>
          <a:r>
            <a:rPr lang="en-US" sz="2400" kern="1200"/>
            <a:t> to branching</a:t>
          </a:r>
        </a:p>
      </dsp:txBody>
      <dsp:txXfrm>
        <a:off x="1063281" y="617935"/>
        <a:ext cx="1906956" cy="1906956"/>
      </dsp:txXfrm>
    </dsp:sp>
    <dsp:sp modelId="{3F8CD9CE-6567-4C69-97CA-0A00DAD3A458}">
      <dsp:nvSpPr>
        <dsp:cNvPr id="0" name=""/>
        <dsp:cNvSpPr/>
      </dsp:nvSpPr>
      <dsp:spPr>
        <a:xfrm>
          <a:off x="3235960" y="514773"/>
          <a:ext cx="2113280" cy="2113280"/>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ON/OFF switch for a </a:t>
          </a:r>
          <a:r>
            <a:rPr lang="en-US" sz="2400" b="1" kern="1200"/>
            <a:t>specific</a:t>
          </a:r>
          <a:r>
            <a:rPr lang="en-US" sz="2400" kern="1200"/>
            <a:t> feature</a:t>
          </a:r>
        </a:p>
      </dsp:txBody>
      <dsp:txXfrm>
        <a:off x="3339122" y="617935"/>
        <a:ext cx="1906956" cy="1906956"/>
      </dsp:txXfrm>
    </dsp:sp>
    <dsp:sp modelId="{B1FE2F84-2663-405A-BEC7-9987B2F8EB6F}">
      <dsp:nvSpPr>
        <dsp:cNvPr id="0" name=""/>
        <dsp:cNvSpPr/>
      </dsp:nvSpPr>
      <dsp:spPr>
        <a:xfrm>
          <a:off x="960119" y="2790613"/>
          <a:ext cx="2113280" cy="2113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llows for quick </a:t>
          </a:r>
          <a:r>
            <a:rPr lang="en-US" sz="2400" b="1" kern="1200"/>
            <a:t>rollback</a:t>
          </a:r>
        </a:p>
      </dsp:txBody>
      <dsp:txXfrm>
        <a:off x="1063281" y="2893775"/>
        <a:ext cx="1906956" cy="1906956"/>
      </dsp:txXfrm>
    </dsp:sp>
    <dsp:sp modelId="{46C14B10-056E-4B58-9A34-FA4943F20D5C}">
      <dsp:nvSpPr>
        <dsp:cNvPr id="0" name=""/>
        <dsp:cNvSpPr/>
      </dsp:nvSpPr>
      <dsp:spPr>
        <a:xfrm>
          <a:off x="3235960" y="2790613"/>
          <a:ext cx="2113280" cy="2113280"/>
        </a:xfrm>
        <a:prstGeom prst="roundRect">
          <a:avLst/>
        </a:prstGeom>
        <a:solidFill>
          <a:srgbClr val="5C005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a:t>Feature</a:t>
          </a:r>
          <a:r>
            <a:rPr lang="en-US" sz="2400" b="1" kern="1200"/>
            <a:t> hidden </a:t>
          </a:r>
          <a:r>
            <a:rPr lang="en-US" sz="2400" b="0" kern="1200"/>
            <a:t>from users</a:t>
          </a:r>
        </a:p>
      </dsp:txBody>
      <dsp:txXfrm>
        <a:off x="3339122" y="2893775"/>
        <a:ext cx="1906956" cy="190695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51F1E7-A79B-4D89-8B49-9449E89A8ECF}">
      <dsp:nvSpPr>
        <dsp:cNvPr id="0" name=""/>
        <dsp:cNvSpPr/>
      </dsp:nvSpPr>
      <dsp:spPr>
        <a:xfrm>
          <a:off x="0" y="193924"/>
          <a:ext cx="10880726" cy="105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49936"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Roll back” to an earlier commit, but </a:t>
          </a:r>
          <a:r>
            <a:rPr lang="en-US" sz="2000" b="1" kern="1200" baseline="0"/>
            <a:t>maintains history</a:t>
          </a:r>
          <a:endParaRPr lang="en-US" sz="2000" b="1" kern="1200"/>
        </a:p>
        <a:p>
          <a:pPr marL="228600" lvl="1" indent="-228600" algn="l" defTabSz="889000">
            <a:lnSpc>
              <a:spcPct val="90000"/>
            </a:lnSpc>
            <a:spcBef>
              <a:spcPct val="0"/>
            </a:spcBef>
            <a:spcAft>
              <a:spcPct val="15000"/>
            </a:spcAft>
            <a:buChar char="•"/>
          </a:pPr>
          <a:r>
            <a:rPr lang="en-US" sz="2000" kern="1200" baseline="0"/>
            <a:t>Creates a new commit, which </a:t>
          </a:r>
          <a:r>
            <a:rPr lang="en-US" sz="2000" b="1" kern="1200" baseline="0"/>
            <a:t>copies</a:t>
          </a:r>
          <a:r>
            <a:rPr lang="en-US" sz="2000" kern="1200" baseline="0"/>
            <a:t> the earlier one</a:t>
          </a:r>
          <a:endParaRPr lang="en-US" sz="2000" kern="1200"/>
        </a:p>
      </dsp:txBody>
      <dsp:txXfrm>
        <a:off x="0" y="193924"/>
        <a:ext cx="10880726" cy="1058400"/>
      </dsp:txXfrm>
    </dsp:sp>
    <dsp:sp modelId="{DB2B3805-21F2-4824-8161-817A5857F3C2}">
      <dsp:nvSpPr>
        <dsp:cNvPr id="0" name=""/>
        <dsp:cNvSpPr/>
      </dsp:nvSpPr>
      <dsp:spPr>
        <a:xfrm>
          <a:off x="544036" y="16804"/>
          <a:ext cx="7616508"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Revert</a:t>
          </a:r>
          <a:endParaRPr lang="en-US" sz="2000" kern="1200"/>
        </a:p>
      </dsp:txBody>
      <dsp:txXfrm>
        <a:off x="561329" y="34097"/>
        <a:ext cx="7581922" cy="319654"/>
      </dsp:txXfrm>
    </dsp:sp>
    <dsp:sp modelId="{2F69BC5B-BA62-4172-BD69-7DBA41A6F5FB}">
      <dsp:nvSpPr>
        <dsp:cNvPr id="0" name=""/>
        <dsp:cNvSpPr/>
      </dsp:nvSpPr>
      <dsp:spPr>
        <a:xfrm>
          <a:off x="0" y="1494244"/>
          <a:ext cx="10880726" cy="2116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49936"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Roll back” to an earlier commit, but </a:t>
          </a:r>
          <a:r>
            <a:rPr lang="en-US" sz="2000" b="1" kern="1200" baseline="0"/>
            <a:t>deletes history</a:t>
          </a:r>
          <a:endParaRPr lang="en-US" sz="2000" b="1" kern="1200"/>
        </a:p>
        <a:p>
          <a:pPr marL="228600" lvl="1" indent="-228600" algn="l" defTabSz="889000">
            <a:lnSpc>
              <a:spcPct val="90000"/>
            </a:lnSpc>
            <a:spcBef>
              <a:spcPct val="0"/>
            </a:spcBef>
            <a:spcAft>
              <a:spcPct val="15000"/>
            </a:spcAft>
            <a:buChar char="•"/>
          </a:pPr>
          <a:r>
            <a:rPr lang="en-US" sz="2000" kern="1200" baseline="0"/>
            <a:t>Use for undoing </a:t>
          </a:r>
          <a:r>
            <a:rPr lang="en-US" sz="2000" b="1" kern="1200" baseline="0"/>
            <a:t>local</a:t>
          </a:r>
          <a:r>
            <a:rPr lang="en-US" sz="2000" kern="1200" baseline="0"/>
            <a:t> changes, don’t use it on the public repo</a:t>
          </a:r>
          <a:endParaRPr lang="en-US" sz="2000" kern="1200"/>
        </a:p>
        <a:p>
          <a:pPr marL="228600" lvl="1" indent="-228600" algn="l" defTabSz="889000">
            <a:lnSpc>
              <a:spcPct val="90000"/>
            </a:lnSpc>
            <a:spcBef>
              <a:spcPct val="0"/>
            </a:spcBef>
            <a:spcAft>
              <a:spcPct val="15000"/>
            </a:spcAft>
            <a:buChar char="•"/>
          </a:pPr>
          <a:r>
            <a:rPr lang="en-US" sz="2000" b="1" kern="1200" baseline="0"/>
            <a:t>Hard</a:t>
          </a:r>
          <a:r>
            <a:rPr lang="en-US" sz="2000" kern="1200" baseline="0"/>
            <a:t> removes all data from working directory and staging</a:t>
          </a:r>
          <a:endParaRPr lang="en-US" sz="2000" kern="1200"/>
        </a:p>
        <a:p>
          <a:pPr marL="228600" lvl="1" indent="-228600" algn="l" defTabSz="889000">
            <a:lnSpc>
              <a:spcPct val="90000"/>
            </a:lnSpc>
            <a:spcBef>
              <a:spcPct val="0"/>
            </a:spcBef>
            <a:spcAft>
              <a:spcPct val="15000"/>
            </a:spcAft>
            <a:buChar char="•"/>
          </a:pPr>
          <a:r>
            <a:rPr lang="en-US" sz="2000" b="1" kern="1200" baseline="0"/>
            <a:t>Mixed</a:t>
          </a:r>
          <a:r>
            <a:rPr lang="en-US" sz="2000" kern="1200" baseline="0"/>
            <a:t> moved all staged files to working directory</a:t>
          </a:r>
          <a:endParaRPr lang="en-US" sz="2000" kern="1200"/>
        </a:p>
        <a:p>
          <a:pPr marL="228600" lvl="1" indent="-228600" algn="l" defTabSz="889000">
            <a:lnSpc>
              <a:spcPct val="90000"/>
            </a:lnSpc>
            <a:spcBef>
              <a:spcPct val="0"/>
            </a:spcBef>
            <a:spcAft>
              <a:spcPct val="15000"/>
            </a:spcAft>
            <a:buChar char="•"/>
          </a:pPr>
          <a:r>
            <a:rPr lang="en-US" sz="2000" kern="1200" baseline="0"/>
            <a:t>Won’t delete commits right away, but will </a:t>
          </a:r>
          <a:r>
            <a:rPr lang="en-US" sz="2000" b="1" kern="1200" baseline="0"/>
            <a:t>orphan</a:t>
          </a:r>
          <a:r>
            <a:rPr lang="en-US" sz="2000" kern="1200" baseline="0"/>
            <a:t> them temporarily</a:t>
          </a:r>
          <a:endParaRPr lang="en-US" sz="2000" kern="1200"/>
        </a:p>
      </dsp:txBody>
      <dsp:txXfrm>
        <a:off x="0" y="1494244"/>
        <a:ext cx="10880726" cy="2116800"/>
      </dsp:txXfrm>
    </dsp:sp>
    <dsp:sp modelId="{7E9799F6-81B7-4855-87B0-90C2E41E8DED}">
      <dsp:nvSpPr>
        <dsp:cNvPr id="0" name=""/>
        <dsp:cNvSpPr/>
      </dsp:nvSpPr>
      <dsp:spPr>
        <a:xfrm>
          <a:off x="544036" y="1317124"/>
          <a:ext cx="7616508"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Reset</a:t>
          </a:r>
          <a:endParaRPr lang="en-US" sz="2000" kern="1200"/>
        </a:p>
      </dsp:txBody>
      <dsp:txXfrm>
        <a:off x="561329" y="1334417"/>
        <a:ext cx="7581922" cy="319654"/>
      </dsp:txXfrm>
    </dsp:sp>
    <dsp:sp modelId="{4CAB55BE-25A2-4BB8-AB48-4116AA68E193}">
      <dsp:nvSpPr>
        <dsp:cNvPr id="0" name=""/>
        <dsp:cNvSpPr/>
      </dsp:nvSpPr>
      <dsp:spPr>
        <a:xfrm>
          <a:off x="0" y="3852965"/>
          <a:ext cx="10880726" cy="173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49936"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Like merge, but </a:t>
          </a:r>
          <a:r>
            <a:rPr lang="en-US" sz="2000" b="1" kern="1200" baseline="0"/>
            <a:t>rewrites history</a:t>
          </a:r>
          <a:endParaRPr lang="en-US" sz="2000" b="1" kern="1200"/>
        </a:p>
        <a:p>
          <a:pPr marL="228600" lvl="1" indent="-228600" algn="l" defTabSz="889000">
            <a:lnSpc>
              <a:spcPct val="90000"/>
            </a:lnSpc>
            <a:spcBef>
              <a:spcPct val="0"/>
            </a:spcBef>
            <a:spcAft>
              <a:spcPct val="15000"/>
            </a:spcAft>
            <a:buChar char="•"/>
          </a:pPr>
          <a:r>
            <a:rPr lang="en-US" sz="2000" kern="1200" baseline="0"/>
            <a:t>Simplifies history, but makes certain commits </a:t>
          </a:r>
          <a:r>
            <a:rPr lang="en-US" sz="2000" b="1" kern="1200" baseline="0"/>
            <a:t>unreachable</a:t>
          </a:r>
          <a:r>
            <a:rPr lang="en-US" sz="2000" kern="1200" baseline="0"/>
            <a:t> and conflicts harder to distinguish</a:t>
          </a:r>
          <a:endParaRPr lang="en-US" sz="2000" kern="1200"/>
        </a:p>
        <a:p>
          <a:pPr marL="228600" lvl="1" indent="-228600" algn="l" defTabSz="889000">
            <a:lnSpc>
              <a:spcPct val="90000"/>
            </a:lnSpc>
            <a:spcBef>
              <a:spcPct val="0"/>
            </a:spcBef>
            <a:spcAft>
              <a:spcPct val="15000"/>
            </a:spcAft>
            <a:buChar char="•"/>
          </a:pPr>
          <a:r>
            <a:rPr lang="en-US" sz="2000" kern="1200" baseline="0"/>
            <a:t>Do </a:t>
          </a:r>
          <a:r>
            <a:rPr lang="en-US" sz="2000" b="1" kern="1200" baseline="0"/>
            <a:t>not</a:t>
          </a:r>
          <a:r>
            <a:rPr lang="en-US" sz="2000" kern="1200" baseline="0"/>
            <a:t> use on public branches</a:t>
          </a:r>
          <a:endParaRPr lang="en-US" sz="2000" kern="1200"/>
        </a:p>
      </dsp:txBody>
      <dsp:txXfrm>
        <a:off x="0" y="3852965"/>
        <a:ext cx="10880726" cy="1738800"/>
      </dsp:txXfrm>
    </dsp:sp>
    <dsp:sp modelId="{2396BCA0-0635-423D-A675-2BCC1343A673}">
      <dsp:nvSpPr>
        <dsp:cNvPr id="0" name=""/>
        <dsp:cNvSpPr/>
      </dsp:nvSpPr>
      <dsp:spPr>
        <a:xfrm>
          <a:off x="544036" y="3675845"/>
          <a:ext cx="7616508"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Rebase</a:t>
          </a:r>
          <a:endParaRPr lang="en-US" sz="2000" kern="1200"/>
        </a:p>
      </dsp:txBody>
      <dsp:txXfrm>
        <a:off x="561329" y="3693138"/>
        <a:ext cx="7581922" cy="31965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D8D92A-6D11-4CF5-822E-E9EF0A5EA5C7}">
      <dsp:nvSpPr>
        <dsp:cNvPr id="0" name=""/>
        <dsp:cNvSpPr/>
      </dsp:nvSpPr>
      <dsp:spPr>
        <a:xfrm>
          <a:off x="3318" y="798090"/>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b="1" kern="1200" baseline="0"/>
            <a:t>Graphical Editor </a:t>
          </a:r>
          <a:r>
            <a:rPr lang="en-US" sz="2500" kern="1200" baseline="0"/>
            <a:t>like the ISE</a:t>
          </a:r>
          <a:endParaRPr lang="en-US" sz="2500" kern="1200"/>
        </a:p>
      </dsp:txBody>
      <dsp:txXfrm>
        <a:off x="3318" y="798090"/>
        <a:ext cx="2632968" cy="1579781"/>
      </dsp:txXfrm>
    </dsp:sp>
    <dsp:sp modelId="{EB40FB3B-6418-4E85-9008-99DD39E07179}">
      <dsp:nvSpPr>
        <dsp:cNvPr id="0" name=""/>
        <dsp:cNvSpPr/>
      </dsp:nvSpPr>
      <dsp:spPr>
        <a:xfrm>
          <a:off x="2899584" y="798090"/>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Supports </a:t>
          </a:r>
          <a:r>
            <a:rPr lang="en-US" sz="2500" b="1" kern="1200" baseline="0"/>
            <a:t>many</a:t>
          </a:r>
          <a:r>
            <a:rPr lang="en-US" sz="2500" kern="1200" baseline="0"/>
            <a:t> programming languages</a:t>
          </a:r>
          <a:endParaRPr lang="en-US" sz="2500" kern="1200"/>
        </a:p>
      </dsp:txBody>
      <dsp:txXfrm>
        <a:off x="2899584" y="798090"/>
        <a:ext cx="2632968" cy="1579781"/>
      </dsp:txXfrm>
    </dsp:sp>
    <dsp:sp modelId="{25EA1045-3962-4E35-AC5D-9EAC61639380}">
      <dsp:nvSpPr>
        <dsp:cNvPr id="0" name=""/>
        <dsp:cNvSpPr/>
      </dsp:nvSpPr>
      <dsp:spPr>
        <a:xfrm>
          <a:off x="5795849" y="798090"/>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Multiple versions of </a:t>
          </a:r>
          <a:r>
            <a:rPr lang="en-US" sz="2500" b="1" kern="1200" baseline="0"/>
            <a:t>PowerShell</a:t>
          </a:r>
          <a:r>
            <a:rPr lang="en-US" sz="2500" kern="1200" baseline="0"/>
            <a:t> supported</a:t>
          </a:r>
          <a:endParaRPr lang="en-US" sz="2500" kern="1200"/>
        </a:p>
      </dsp:txBody>
      <dsp:txXfrm>
        <a:off x="5795849" y="798090"/>
        <a:ext cx="2632968" cy="1579781"/>
      </dsp:txXfrm>
    </dsp:sp>
    <dsp:sp modelId="{E54F445C-88AE-43CB-8BD8-C1E665DF95F5}">
      <dsp:nvSpPr>
        <dsp:cNvPr id="0" name=""/>
        <dsp:cNvSpPr/>
      </dsp:nvSpPr>
      <dsp:spPr>
        <a:xfrm>
          <a:off x="8692114" y="798090"/>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Code </a:t>
          </a:r>
          <a:r>
            <a:rPr lang="en-US" sz="2500" b="1" kern="1200" baseline="0"/>
            <a:t>execution</a:t>
          </a:r>
          <a:r>
            <a:rPr lang="en-US" sz="2500" kern="1200" baseline="0"/>
            <a:t> and </a:t>
          </a:r>
          <a:r>
            <a:rPr lang="en-US" sz="2500" b="1" kern="1200" baseline="0"/>
            <a:t>debugging</a:t>
          </a:r>
          <a:endParaRPr lang="en-US" sz="2500" b="1" kern="1200"/>
        </a:p>
      </dsp:txBody>
      <dsp:txXfrm>
        <a:off x="8692114" y="798090"/>
        <a:ext cx="2632968" cy="1579781"/>
      </dsp:txXfrm>
    </dsp:sp>
    <dsp:sp modelId="{68CC5C03-2E76-4B73-B641-0A02A0B89B04}">
      <dsp:nvSpPr>
        <dsp:cNvPr id="0" name=""/>
        <dsp:cNvSpPr/>
      </dsp:nvSpPr>
      <dsp:spPr>
        <a:xfrm>
          <a:off x="3318" y="2641167"/>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Source Control </a:t>
          </a:r>
          <a:r>
            <a:rPr lang="en-US" sz="2500" b="1" kern="1200" baseline="0"/>
            <a:t>Integration</a:t>
          </a:r>
          <a:endParaRPr lang="en-US" sz="2500" b="1" kern="1200"/>
        </a:p>
      </dsp:txBody>
      <dsp:txXfrm>
        <a:off x="3318" y="2641167"/>
        <a:ext cx="2632968" cy="1579781"/>
      </dsp:txXfrm>
    </dsp:sp>
    <dsp:sp modelId="{C20FF81C-88F8-42F9-BBF9-A08353B68C9A}">
      <dsp:nvSpPr>
        <dsp:cNvPr id="0" name=""/>
        <dsp:cNvSpPr/>
      </dsp:nvSpPr>
      <dsp:spPr>
        <a:xfrm>
          <a:off x="2899584" y="2641167"/>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b="1" kern="1200" baseline="0"/>
            <a:t>Free</a:t>
          </a:r>
          <a:endParaRPr lang="en-US" sz="2500" b="1" kern="1200"/>
        </a:p>
      </dsp:txBody>
      <dsp:txXfrm>
        <a:off x="2899584" y="2641167"/>
        <a:ext cx="2632968" cy="1579781"/>
      </dsp:txXfrm>
    </dsp:sp>
    <dsp:sp modelId="{193CEFA3-0450-4270-BE19-122547B19DFF}">
      <dsp:nvSpPr>
        <dsp:cNvPr id="0" name=""/>
        <dsp:cNvSpPr/>
      </dsp:nvSpPr>
      <dsp:spPr>
        <a:xfrm>
          <a:off x="5795849" y="2641167"/>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Compatible with </a:t>
          </a:r>
          <a:r>
            <a:rPr lang="en-US" sz="2500" b="1" i="0" kern="1200" baseline="0"/>
            <a:t>all</a:t>
          </a:r>
          <a:r>
            <a:rPr lang="en-US" sz="2500" kern="1200" baseline="0"/>
            <a:t> OS’s</a:t>
          </a:r>
          <a:endParaRPr lang="en-US" sz="2500" kern="1200"/>
        </a:p>
      </dsp:txBody>
      <dsp:txXfrm>
        <a:off x="5795849" y="2641167"/>
        <a:ext cx="2632968" cy="1579781"/>
      </dsp:txXfrm>
    </dsp:sp>
    <dsp:sp modelId="{28A606CF-5208-4063-8197-8A4D152BE310}">
      <dsp:nvSpPr>
        <dsp:cNvPr id="0" name=""/>
        <dsp:cNvSpPr/>
      </dsp:nvSpPr>
      <dsp:spPr>
        <a:xfrm>
          <a:off x="8692114" y="2641167"/>
          <a:ext cx="2632968" cy="157978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b="1" kern="1200"/>
            <a:t>Extension</a:t>
          </a:r>
          <a:r>
            <a:rPr lang="en-US" sz="2500" kern="1200"/>
            <a:t> library</a:t>
          </a:r>
        </a:p>
      </dsp:txBody>
      <dsp:txXfrm>
        <a:off x="8692114" y="2641167"/>
        <a:ext cx="2632968" cy="157978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4B8666-01B8-454F-8280-937B8D9B97F0}">
      <dsp:nvSpPr>
        <dsp:cNvPr id="0" name=""/>
        <dsp:cNvSpPr/>
      </dsp:nvSpPr>
      <dsp:spPr>
        <a:xfrm rot="5400000">
          <a:off x="2779386" y="-1019491"/>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baseline="0"/>
            <a:t>Bracket Pair Colorizer</a:t>
          </a:r>
          <a:endParaRPr lang="en-US" sz="1800" kern="1200"/>
        </a:p>
        <a:p>
          <a:pPr marL="171450" lvl="1" indent="-171450" algn="l" defTabSz="800100">
            <a:lnSpc>
              <a:spcPct val="90000"/>
            </a:lnSpc>
            <a:spcBef>
              <a:spcPct val="0"/>
            </a:spcBef>
            <a:spcAft>
              <a:spcPct val="15000"/>
            </a:spcAft>
            <a:buFont typeface="Arial" panose="020B0604020202020204" pitchFamily="34" charset="0"/>
            <a:buChar char="•"/>
          </a:pPr>
          <a:r>
            <a:rPr lang="en-US" sz="1800" kern="1200" baseline="0"/>
            <a:t>Indent-rainbow</a:t>
          </a:r>
          <a:endParaRPr lang="en-US" sz="1800" kern="1200"/>
        </a:p>
      </dsp:txBody>
      <dsp:txXfrm rot="-5400000">
        <a:off x="1666299" y="129531"/>
        <a:ext cx="2926372" cy="664261"/>
      </dsp:txXfrm>
    </dsp:sp>
    <dsp:sp modelId="{159D4EED-757C-460C-88F3-98E49172007F}">
      <dsp:nvSpPr>
        <dsp:cNvPr id="0" name=""/>
        <dsp:cNvSpPr/>
      </dsp:nvSpPr>
      <dsp:spPr>
        <a:xfrm>
          <a:off x="0" y="1580"/>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Visual adjustments</a:t>
          </a:r>
          <a:endParaRPr lang="en-US" sz="1800" kern="1200"/>
        </a:p>
      </dsp:txBody>
      <dsp:txXfrm>
        <a:off x="44919" y="46499"/>
        <a:ext cx="1576460" cy="830326"/>
      </dsp:txXfrm>
    </dsp:sp>
    <dsp:sp modelId="{1DB441E4-892C-4ADC-88E3-54B348D00411}">
      <dsp:nvSpPr>
        <dsp:cNvPr id="0" name=""/>
        <dsp:cNvSpPr/>
      </dsp:nvSpPr>
      <dsp:spPr>
        <a:xfrm rot="5400000">
          <a:off x="2779386" y="-53318"/>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PowerShell</a:t>
          </a:r>
          <a:endParaRPr lang="en-US" sz="1800" kern="1200"/>
        </a:p>
        <a:p>
          <a:pPr marL="171450" lvl="1" indent="-171450" algn="l" defTabSz="800100">
            <a:lnSpc>
              <a:spcPct val="90000"/>
            </a:lnSpc>
            <a:spcBef>
              <a:spcPct val="0"/>
            </a:spcBef>
            <a:spcAft>
              <a:spcPct val="15000"/>
            </a:spcAft>
            <a:buChar char="•"/>
          </a:pPr>
          <a:r>
            <a:rPr lang="en-US" sz="1800" kern="1200" baseline="0"/>
            <a:t>Python</a:t>
          </a:r>
          <a:endParaRPr lang="en-US" sz="1800" kern="1200"/>
        </a:p>
      </dsp:txBody>
      <dsp:txXfrm rot="-5400000">
        <a:off x="1666299" y="1095704"/>
        <a:ext cx="2926372" cy="664261"/>
      </dsp:txXfrm>
    </dsp:sp>
    <dsp:sp modelId="{45B44D01-FDCD-4302-BFB4-4A2A150525F6}">
      <dsp:nvSpPr>
        <dsp:cNvPr id="0" name=""/>
        <dsp:cNvSpPr/>
      </dsp:nvSpPr>
      <dsp:spPr>
        <a:xfrm>
          <a:off x="0" y="967753"/>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Programming languages</a:t>
          </a:r>
          <a:endParaRPr lang="en-US" sz="1800" kern="1200"/>
        </a:p>
      </dsp:txBody>
      <dsp:txXfrm>
        <a:off x="44919" y="1012672"/>
        <a:ext cx="1576460" cy="830326"/>
      </dsp:txXfrm>
    </dsp:sp>
    <dsp:sp modelId="{2851780F-FA22-4C7B-9CAA-CFADEE4693A6}">
      <dsp:nvSpPr>
        <dsp:cNvPr id="0" name=""/>
        <dsp:cNvSpPr/>
      </dsp:nvSpPr>
      <dsp:spPr>
        <a:xfrm rot="5400000">
          <a:off x="2779386" y="912854"/>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Live Share</a:t>
          </a:r>
          <a:endParaRPr lang="en-US" sz="1800" kern="1200"/>
        </a:p>
      </dsp:txBody>
      <dsp:txXfrm rot="-5400000">
        <a:off x="1666299" y="2061877"/>
        <a:ext cx="2926372" cy="664261"/>
      </dsp:txXfrm>
    </dsp:sp>
    <dsp:sp modelId="{5006C816-73D8-45BA-BA38-82C4A1B17ECE}">
      <dsp:nvSpPr>
        <dsp:cNvPr id="0" name=""/>
        <dsp:cNvSpPr/>
      </dsp:nvSpPr>
      <dsp:spPr>
        <a:xfrm>
          <a:off x="0" y="1933925"/>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Collaboration Tools</a:t>
          </a:r>
          <a:endParaRPr lang="en-US" sz="1800" kern="1200"/>
        </a:p>
      </dsp:txBody>
      <dsp:txXfrm>
        <a:off x="44919" y="1978844"/>
        <a:ext cx="1576460" cy="830326"/>
      </dsp:txXfrm>
    </dsp:sp>
    <dsp:sp modelId="{39F1ADF5-25F3-42CA-9D8D-39C1E892C721}">
      <dsp:nvSpPr>
        <dsp:cNvPr id="0" name=""/>
        <dsp:cNvSpPr/>
      </dsp:nvSpPr>
      <dsp:spPr>
        <a:xfrm rot="5400000">
          <a:off x="2779386" y="1879026"/>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Vim</a:t>
          </a:r>
          <a:endParaRPr lang="en-US" sz="1800" kern="1200"/>
        </a:p>
        <a:p>
          <a:pPr marL="171450" lvl="1" indent="-171450" algn="l" defTabSz="800100">
            <a:lnSpc>
              <a:spcPct val="90000"/>
            </a:lnSpc>
            <a:spcBef>
              <a:spcPct val="0"/>
            </a:spcBef>
            <a:spcAft>
              <a:spcPct val="15000"/>
            </a:spcAft>
            <a:buChar char="•"/>
          </a:pPr>
          <a:r>
            <a:rPr lang="en-US" sz="1800" kern="1200" baseline="0"/>
            <a:t>Notepad++</a:t>
          </a:r>
          <a:endParaRPr lang="en-US" sz="1800" kern="1200"/>
        </a:p>
      </dsp:txBody>
      <dsp:txXfrm rot="-5400000">
        <a:off x="1666299" y="3028049"/>
        <a:ext cx="2926372" cy="664261"/>
      </dsp:txXfrm>
    </dsp:sp>
    <dsp:sp modelId="{5419842E-EC99-439C-BA29-37A5479C7283}">
      <dsp:nvSpPr>
        <dsp:cNvPr id="0" name=""/>
        <dsp:cNvSpPr/>
      </dsp:nvSpPr>
      <dsp:spPr>
        <a:xfrm>
          <a:off x="0" y="2900098"/>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Keymaps - Hotkeys</a:t>
          </a:r>
          <a:endParaRPr lang="en-US" sz="1800" kern="1200"/>
        </a:p>
      </dsp:txBody>
      <dsp:txXfrm>
        <a:off x="44919" y="2945017"/>
        <a:ext cx="1576460" cy="830326"/>
      </dsp:txXfrm>
    </dsp:sp>
    <dsp:sp modelId="{F2FBF5F5-9D38-4BEA-9C19-99939BCDDA93}">
      <dsp:nvSpPr>
        <dsp:cNvPr id="0" name=""/>
        <dsp:cNvSpPr/>
      </dsp:nvSpPr>
      <dsp:spPr>
        <a:xfrm rot="5400000">
          <a:off x="2779386" y="2845199"/>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TODO Tree</a:t>
          </a:r>
          <a:endParaRPr lang="en-US" sz="1800" kern="1200"/>
        </a:p>
        <a:p>
          <a:pPr marL="171450" lvl="1" indent="-171450" algn="l" defTabSz="800100">
            <a:lnSpc>
              <a:spcPct val="90000"/>
            </a:lnSpc>
            <a:spcBef>
              <a:spcPct val="0"/>
            </a:spcBef>
            <a:spcAft>
              <a:spcPct val="15000"/>
            </a:spcAft>
            <a:buChar char="•"/>
          </a:pPr>
          <a:r>
            <a:rPr lang="en-US" sz="1800" kern="1200" baseline="0"/>
            <a:t>Code Spell Checker</a:t>
          </a:r>
          <a:endParaRPr lang="en-US" sz="1800" kern="1200"/>
        </a:p>
      </dsp:txBody>
      <dsp:txXfrm rot="-5400000">
        <a:off x="1666299" y="3994222"/>
        <a:ext cx="2926372" cy="664261"/>
      </dsp:txXfrm>
    </dsp:sp>
    <dsp:sp modelId="{DC066716-918A-4206-873D-51811C8A9045}">
      <dsp:nvSpPr>
        <dsp:cNvPr id="0" name=""/>
        <dsp:cNvSpPr/>
      </dsp:nvSpPr>
      <dsp:spPr>
        <a:xfrm>
          <a:off x="0" y="3866271"/>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Organization assistance</a:t>
          </a:r>
          <a:endParaRPr lang="en-US" sz="1800" kern="1200"/>
        </a:p>
      </dsp:txBody>
      <dsp:txXfrm>
        <a:off x="44919" y="3911190"/>
        <a:ext cx="1576460" cy="830326"/>
      </dsp:txXfrm>
    </dsp:sp>
    <dsp:sp modelId="{4CCCAE8F-6C22-4C88-A951-B9C6CDAEA9AD}">
      <dsp:nvSpPr>
        <dsp:cNvPr id="0" name=""/>
        <dsp:cNvSpPr/>
      </dsp:nvSpPr>
      <dsp:spPr>
        <a:xfrm rot="5400000">
          <a:off x="2779386" y="3811372"/>
          <a:ext cx="736131" cy="296230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Markdown</a:t>
          </a:r>
          <a:endParaRPr lang="en-US" sz="1800" kern="1200"/>
        </a:p>
        <a:p>
          <a:pPr marL="171450" lvl="1" indent="-171450" algn="l" defTabSz="800100">
            <a:lnSpc>
              <a:spcPct val="90000"/>
            </a:lnSpc>
            <a:spcBef>
              <a:spcPct val="0"/>
            </a:spcBef>
            <a:spcAft>
              <a:spcPct val="15000"/>
            </a:spcAft>
            <a:buChar char="•"/>
          </a:pPr>
          <a:r>
            <a:rPr lang="en-US" sz="1800" kern="1200" baseline="0"/>
            <a:t>CSV</a:t>
          </a:r>
          <a:endParaRPr lang="en-US" sz="1800" kern="1200"/>
        </a:p>
      </dsp:txBody>
      <dsp:txXfrm rot="-5400000">
        <a:off x="1666299" y="4960395"/>
        <a:ext cx="2926372" cy="664261"/>
      </dsp:txXfrm>
    </dsp:sp>
    <dsp:sp modelId="{8D8EA764-1455-4C9F-969D-3979E33D9675}">
      <dsp:nvSpPr>
        <dsp:cNvPr id="0" name=""/>
        <dsp:cNvSpPr/>
      </dsp:nvSpPr>
      <dsp:spPr>
        <a:xfrm>
          <a:off x="0" y="4832444"/>
          <a:ext cx="1666298" cy="9201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baseline="0"/>
            <a:t>File viewers</a:t>
          </a:r>
          <a:endParaRPr lang="en-US" sz="1800" kern="1200"/>
        </a:p>
      </dsp:txBody>
      <dsp:txXfrm>
        <a:off x="44919" y="4877363"/>
        <a:ext cx="1576460" cy="8303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C5B71E-7314-4F42-833D-D7FF520EA9B0}">
      <dsp:nvSpPr>
        <dsp:cNvPr id="0" name=""/>
        <dsp:cNvSpPr/>
      </dsp:nvSpPr>
      <dsp:spPr>
        <a:xfrm>
          <a:off x="708229" y="781222"/>
          <a:ext cx="5208460" cy="5208460"/>
        </a:xfrm>
        <a:prstGeom prst="blockArc">
          <a:avLst>
            <a:gd name="adj1" fmla="val 11880000"/>
            <a:gd name="adj2" fmla="val 16200000"/>
            <a:gd name="adj3" fmla="val 4639"/>
          </a:avLst>
        </a:prstGeom>
        <a:solidFill>
          <a:schemeClr val="accent6">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7B52DE82-BE9B-400E-97EA-E2FB38A72F03}">
      <dsp:nvSpPr>
        <dsp:cNvPr id="0" name=""/>
        <dsp:cNvSpPr/>
      </dsp:nvSpPr>
      <dsp:spPr>
        <a:xfrm>
          <a:off x="708229" y="781222"/>
          <a:ext cx="5208460" cy="5208460"/>
        </a:xfrm>
        <a:prstGeom prst="blockArc">
          <a:avLst>
            <a:gd name="adj1" fmla="val 7560000"/>
            <a:gd name="adj2" fmla="val 11880000"/>
            <a:gd name="adj3" fmla="val 4639"/>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CB160A6-07C1-45BF-91B0-8A88676DA998}">
      <dsp:nvSpPr>
        <dsp:cNvPr id="0" name=""/>
        <dsp:cNvSpPr/>
      </dsp:nvSpPr>
      <dsp:spPr>
        <a:xfrm>
          <a:off x="708229" y="781222"/>
          <a:ext cx="5208460" cy="5208460"/>
        </a:xfrm>
        <a:prstGeom prst="blockArc">
          <a:avLst>
            <a:gd name="adj1" fmla="val 3240000"/>
            <a:gd name="adj2" fmla="val 7560000"/>
            <a:gd name="adj3" fmla="val 4639"/>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5B35F19-4213-457E-8DBE-AFEDA82BA31E}">
      <dsp:nvSpPr>
        <dsp:cNvPr id="0" name=""/>
        <dsp:cNvSpPr/>
      </dsp:nvSpPr>
      <dsp:spPr>
        <a:xfrm>
          <a:off x="708229" y="781222"/>
          <a:ext cx="5208460" cy="5208460"/>
        </a:xfrm>
        <a:prstGeom prst="blockArc">
          <a:avLst>
            <a:gd name="adj1" fmla="val 20520000"/>
            <a:gd name="adj2" fmla="val 3240000"/>
            <a:gd name="adj3" fmla="val 4639"/>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873BFF-B982-4CDC-B7A6-E9DD903F1C00}">
      <dsp:nvSpPr>
        <dsp:cNvPr id="0" name=""/>
        <dsp:cNvSpPr/>
      </dsp:nvSpPr>
      <dsp:spPr>
        <a:xfrm>
          <a:off x="708229" y="781222"/>
          <a:ext cx="5208460" cy="5208460"/>
        </a:xfrm>
        <a:prstGeom prst="blockArc">
          <a:avLst>
            <a:gd name="adj1" fmla="val 16200000"/>
            <a:gd name="adj2" fmla="val 20520000"/>
            <a:gd name="adj3" fmla="val 4639"/>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29CE36-42D4-4C22-82E2-237355CCDE81}">
      <dsp:nvSpPr>
        <dsp:cNvPr id="0" name=""/>
        <dsp:cNvSpPr/>
      </dsp:nvSpPr>
      <dsp:spPr>
        <a:xfrm>
          <a:off x="2113957" y="2186950"/>
          <a:ext cx="2397004" cy="239700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Continuous </a:t>
          </a:r>
          <a:r>
            <a:rPr lang="en-US" sz="2000" b="1" kern="1200"/>
            <a:t>Integration</a:t>
          </a:r>
          <a:br>
            <a:rPr lang="en-US" sz="2000" kern="1200"/>
          </a:br>
          <a:r>
            <a:rPr lang="en-US" sz="2000" kern="1200"/>
            <a:t>Continuous </a:t>
          </a:r>
          <a:r>
            <a:rPr lang="en-US" sz="2000" b="1" kern="1200"/>
            <a:t>Delivery</a:t>
          </a:r>
        </a:p>
      </dsp:txBody>
      <dsp:txXfrm>
        <a:off x="2464990" y="2537983"/>
        <a:ext cx="1694938" cy="1694938"/>
      </dsp:txXfrm>
    </dsp:sp>
    <dsp:sp modelId="{45A28D22-8286-4CDB-B9FF-E5AFB446E623}">
      <dsp:nvSpPr>
        <dsp:cNvPr id="0" name=""/>
        <dsp:cNvSpPr/>
      </dsp:nvSpPr>
      <dsp:spPr>
        <a:xfrm>
          <a:off x="2473507" y="2675"/>
          <a:ext cx="1677903" cy="16779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Plan</a:t>
          </a:r>
          <a:endParaRPr lang="en-US" sz="1800" kern="1200"/>
        </a:p>
      </dsp:txBody>
      <dsp:txXfrm>
        <a:off x="2719230" y="248398"/>
        <a:ext cx="1186457" cy="1186457"/>
      </dsp:txXfrm>
    </dsp:sp>
    <dsp:sp modelId="{F2FCF180-D25E-4E7A-BE18-9DF6AEAA4AFC}">
      <dsp:nvSpPr>
        <dsp:cNvPr id="0" name=""/>
        <dsp:cNvSpPr/>
      </dsp:nvSpPr>
      <dsp:spPr>
        <a:xfrm>
          <a:off x="4892829" y="1760415"/>
          <a:ext cx="1677903" cy="167790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Build</a:t>
          </a:r>
          <a:endParaRPr lang="en-US" sz="1800" kern="1200"/>
        </a:p>
      </dsp:txBody>
      <dsp:txXfrm>
        <a:off x="5138552" y="2006138"/>
        <a:ext cx="1186457" cy="1186457"/>
      </dsp:txXfrm>
    </dsp:sp>
    <dsp:sp modelId="{9F31A8EC-2BD2-4D8C-B4CF-F7E1562BDC92}">
      <dsp:nvSpPr>
        <dsp:cNvPr id="0" name=""/>
        <dsp:cNvSpPr/>
      </dsp:nvSpPr>
      <dsp:spPr>
        <a:xfrm>
          <a:off x="3968731" y="4604499"/>
          <a:ext cx="1677903" cy="167790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Deploy</a:t>
          </a:r>
          <a:endParaRPr lang="en-US" sz="1800" kern="1200"/>
        </a:p>
      </dsp:txBody>
      <dsp:txXfrm>
        <a:off x="4214454" y="4850222"/>
        <a:ext cx="1186457" cy="1186457"/>
      </dsp:txXfrm>
    </dsp:sp>
    <dsp:sp modelId="{BED609EA-9895-4650-90FA-EEEFA8DBA2A0}">
      <dsp:nvSpPr>
        <dsp:cNvPr id="0" name=""/>
        <dsp:cNvSpPr/>
      </dsp:nvSpPr>
      <dsp:spPr>
        <a:xfrm>
          <a:off x="978284" y="4604499"/>
          <a:ext cx="1677903" cy="167790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Operate </a:t>
          </a:r>
          <a:endParaRPr lang="en-US" sz="1800" kern="1200"/>
        </a:p>
      </dsp:txBody>
      <dsp:txXfrm>
        <a:off x="1224007" y="4850222"/>
        <a:ext cx="1186457" cy="1186457"/>
      </dsp:txXfrm>
    </dsp:sp>
    <dsp:sp modelId="{CA95BBDA-C270-435A-9220-7F92FB6187D2}">
      <dsp:nvSpPr>
        <dsp:cNvPr id="0" name=""/>
        <dsp:cNvSpPr/>
      </dsp:nvSpPr>
      <dsp:spPr>
        <a:xfrm>
          <a:off x="54185" y="1760415"/>
          <a:ext cx="1677903" cy="1677903"/>
        </a:xfrm>
        <a:prstGeom prst="ellipse">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Feedback</a:t>
          </a:r>
          <a:endParaRPr lang="en-US" sz="1800" kern="1200"/>
        </a:p>
      </dsp:txBody>
      <dsp:txXfrm>
        <a:off x="299908" y="2006138"/>
        <a:ext cx="1186457" cy="11864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701C3-ED44-419E-AF80-D4CF424931DC}">
      <dsp:nvSpPr>
        <dsp:cNvPr id="0" name=""/>
        <dsp:cNvSpPr/>
      </dsp:nvSpPr>
      <dsp:spPr>
        <a:xfrm>
          <a:off x="5312" y="1363982"/>
          <a:ext cx="2527856" cy="1741693"/>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95E507-6C04-404F-89BC-7E462D5D7D5E}">
      <dsp:nvSpPr>
        <dsp:cNvPr id="0" name=""/>
        <dsp:cNvSpPr/>
      </dsp:nvSpPr>
      <dsp:spPr>
        <a:xfrm>
          <a:off x="5312" y="3105675"/>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baseline="0"/>
            <a:t>Distributed</a:t>
          </a:r>
          <a:r>
            <a:rPr lang="en-US" sz="2400" kern="1200" baseline="0"/>
            <a:t> version control system</a:t>
          </a:r>
          <a:endParaRPr lang="en-US" sz="2400" kern="1200"/>
        </a:p>
      </dsp:txBody>
      <dsp:txXfrm>
        <a:off x="5312" y="3105675"/>
        <a:ext cx="2527856" cy="937834"/>
      </dsp:txXfrm>
    </dsp:sp>
    <dsp:sp modelId="{C55C9FCC-48B0-4E03-971B-C384C487D5B5}">
      <dsp:nvSpPr>
        <dsp:cNvPr id="0" name=""/>
        <dsp:cNvSpPr/>
      </dsp:nvSpPr>
      <dsp:spPr>
        <a:xfrm>
          <a:off x="2786060" y="1363982"/>
          <a:ext cx="2527856" cy="1741693"/>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32581E-6988-4A92-A4B9-8BE49A605628}">
      <dsp:nvSpPr>
        <dsp:cNvPr id="0" name=""/>
        <dsp:cNvSpPr/>
      </dsp:nvSpPr>
      <dsp:spPr>
        <a:xfrm>
          <a:off x="2786060" y="3105675"/>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baseline="0"/>
            <a:t>Lightweight</a:t>
          </a:r>
          <a:r>
            <a:rPr lang="en-US" sz="2400" kern="1200" baseline="0"/>
            <a:t> and fast</a:t>
          </a:r>
          <a:endParaRPr lang="en-US" sz="2400" kern="1200"/>
        </a:p>
      </dsp:txBody>
      <dsp:txXfrm>
        <a:off x="2786060" y="3105675"/>
        <a:ext cx="2527856" cy="937834"/>
      </dsp:txXfrm>
    </dsp:sp>
    <dsp:sp modelId="{9C31E3A5-2BD7-4A79-AC87-46BC1EB1BBDA}">
      <dsp:nvSpPr>
        <dsp:cNvPr id="0" name=""/>
        <dsp:cNvSpPr/>
      </dsp:nvSpPr>
      <dsp:spPr>
        <a:xfrm>
          <a:off x="5566808" y="1363982"/>
          <a:ext cx="2527856" cy="1741693"/>
        </a:xfrm>
        <a:prstGeom prst="round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CDCB22-B85E-4058-A301-D51B2C1DC613}">
      <dsp:nvSpPr>
        <dsp:cNvPr id="0" name=""/>
        <dsp:cNvSpPr/>
      </dsp:nvSpPr>
      <dsp:spPr>
        <a:xfrm>
          <a:off x="5566808" y="3105675"/>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baseline="0"/>
            <a:t>Open</a:t>
          </a:r>
          <a:r>
            <a:rPr lang="en-US" sz="2400" kern="1200" baseline="0"/>
            <a:t> Source</a:t>
          </a:r>
          <a:endParaRPr lang="en-US" sz="2400" kern="1200"/>
        </a:p>
      </dsp:txBody>
      <dsp:txXfrm>
        <a:off x="5566808" y="3105675"/>
        <a:ext cx="2527856" cy="937834"/>
      </dsp:txXfrm>
    </dsp:sp>
    <dsp:sp modelId="{F8B19172-A6C2-4406-873A-0394004B6E49}">
      <dsp:nvSpPr>
        <dsp:cNvPr id="0" name=""/>
        <dsp:cNvSpPr/>
      </dsp:nvSpPr>
      <dsp:spPr>
        <a:xfrm>
          <a:off x="8347556" y="1363982"/>
          <a:ext cx="2527856" cy="1741693"/>
        </a:xfrm>
        <a:prstGeom prst="roundRect">
          <a:avLst/>
        </a:prstGeom>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A2120A-47D9-4B6D-85FF-A31274D3C04E}">
      <dsp:nvSpPr>
        <dsp:cNvPr id="0" name=""/>
        <dsp:cNvSpPr/>
      </dsp:nvSpPr>
      <dsp:spPr>
        <a:xfrm>
          <a:off x="8347556" y="3105675"/>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baseline="0"/>
            <a:t>Supports parallel development (</a:t>
          </a:r>
          <a:r>
            <a:rPr lang="en-US" sz="2400" b="1" kern="1200" baseline="0"/>
            <a:t>branching</a:t>
          </a:r>
          <a:r>
            <a:rPr lang="en-US" sz="2400" kern="1200" baseline="0"/>
            <a:t>)</a:t>
          </a:r>
          <a:endParaRPr lang="en-US" sz="2400" kern="1200"/>
        </a:p>
      </dsp:txBody>
      <dsp:txXfrm>
        <a:off x="8347556" y="3105675"/>
        <a:ext cx="2527856" cy="9378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17EB2C-700E-4ACB-9D55-307A781544B4}">
      <dsp:nvSpPr>
        <dsp:cNvPr id="0" name=""/>
        <dsp:cNvSpPr/>
      </dsp:nvSpPr>
      <dsp:spPr>
        <a:xfrm>
          <a:off x="0" y="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B59D65-39BE-45CA-A24C-78EE14931A00}">
      <dsp:nvSpPr>
        <dsp:cNvPr id="0" name=""/>
        <dsp:cNvSpPr/>
      </dsp:nvSpPr>
      <dsp:spPr>
        <a:xfrm>
          <a:off x="0" y="0"/>
          <a:ext cx="10880726" cy="882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1" kern="1200" baseline="0"/>
            <a:t>Git</a:t>
          </a:r>
          <a:r>
            <a:rPr lang="en-US" sz="3000" kern="1200" baseline="0"/>
            <a:t>: The source control </a:t>
          </a:r>
          <a:r>
            <a:rPr lang="en-US" sz="3000" u="sng" kern="1200" baseline="0"/>
            <a:t>system</a:t>
          </a:r>
          <a:endParaRPr lang="en-US" sz="3000" u="sng" kern="1200"/>
        </a:p>
      </dsp:txBody>
      <dsp:txXfrm>
        <a:off x="0" y="0"/>
        <a:ext cx="10880726" cy="882695"/>
      </dsp:txXfrm>
    </dsp:sp>
    <dsp:sp modelId="{1651831E-F99A-4BEF-BF25-6BD9FE5CC71A}">
      <dsp:nvSpPr>
        <dsp:cNvPr id="0" name=""/>
        <dsp:cNvSpPr/>
      </dsp:nvSpPr>
      <dsp:spPr>
        <a:xfrm>
          <a:off x="0" y="88269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4CCD25-49F1-4AA3-885C-49B82EA0E7CC}">
      <dsp:nvSpPr>
        <dsp:cNvPr id="0" name=""/>
        <dsp:cNvSpPr/>
      </dsp:nvSpPr>
      <dsp:spPr>
        <a:xfrm>
          <a:off x="0" y="882695"/>
          <a:ext cx="10880726" cy="882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1" kern="1200" baseline="0"/>
            <a:t>GitHub</a:t>
          </a:r>
          <a:r>
            <a:rPr lang="en-US" sz="3000" kern="1200" baseline="0"/>
            <a:t>: A </a:t>
          </a:r>
          <a:r>
            <a:rPr lang="en-US" sz="3000" u="sng" kern="1200" baseline="0"/>
            <a:t>hosting</a:t>
          </a:r>
          <a:r>
            <a:rPr lang="en-US" sz="3000" kern="1200" baseline="0"/>
            <a:t> service for Git repositories, only stores code</a:t>
          </a:r>
          <a:endParaRPr lang="en-US" sz="3000" kern="1200"/>
        </a:p>
      </dsp:txBody>
      <dsp:txXfrm>
        <a:off x="0" y="882695"/>
        <a:ext cx="10880726" cy="8826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588"/>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416453" y="310347"/>
          <a:ext cx="757188" cy="757188"/>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1590096" y="588"/>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1" kern="1200"/>
            <a:t>Repository</a:t>
          </a:r>
          <a:r>
            <a:rPr lang="en-US" sz="2500" kern="1200"/>
            <a:t>: Represents main project (Repo)</a:t>
          </a:r>
        </a:p>
      </dsp:txBody>
      <dsp:txXfrm>
        <a:off x="1590096" y="588"/>
        <a:ext cx="9290628" cy="1376706"/>
      </dsp:txXfrm>
    </dsp:sp>
    <dsp:sp modelId="{37DC6C3B-5BA7-454A-8935-5390DF375846}">
      <dsp:nvSpPr>
        <dsp:cNvPr id="0" name=""/>
        <dsp:cNvSpPr/>
      </dsp:nvSpPr>
      <dsp:spPr>
        <a:xfrm>
          <a:off x="0" y="1721471"/>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A8E311-F110-4C28-B5D6-157558EB9BE8}">
      <dsp:nvSpPr>
        <dsp:cNvPr id="0" name=""/>
        <dsp:cNvSpPr/>
      </dsp:nvSpPr>
      <dsp:spPr>
        <a:xfrm>
          <a:off x="416453" y="2031230"/>
          <a:ext cx="757188" cy="757188"/>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E39B4F-50E6-4902-9758-17B99B1A73AC}">
      <dsp:nvSpPr>
        <dsp:cNvPr id="0" name=""/>
        <dsp:cNvSpPr/>
      </dsp:nvSpPr>
      <dsp:spPr>
        <a:xfrm>
          <a:off x="1590096" y="1721471"/>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1" kern="1200"/>
            <a:t>Staging</a:t>
          </a:r>
          <a:r>
            <a:rPr lang="en-US" sz="2500" kern="1200"/>
            <a:t>: Files with changes ready to save </a:t>
          </a:r>
        </a:p>
      </dsp:txBody>
      <dsp:txXfrm>
        <a:off x="1590096" y="1721471"/>
        <a:ext cx="9290628" cy="1376706"/>
      </dsp:txXfrm>
    </dsp:sp>
    <dsp:sp modelId="{F7699F2D-6081-4E68-A967-C106380F0FA5}">
      <dsp:nvSpPr>
        <dsp:cNvPr id="0" name=""/>
        <dsp:cNvSpPr/>
      </dsp:nvSpPr>
      <dsp:spPr>
        <a:xfrm>
          <a:off x="0" y="3442354"/>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757911-DD4C-438F-8620-EEFB6445EF9B}">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0FF219-7D4F-425E-BADC-63068E7ADF25}">
      <dsp:nvSpPr>
        <dsp:cNvPr id="0" name=""/>
        <dsp:cNvSpPr/>
      </dsp:nvSpPr>
      <dsp:spPr>
        <a:xfrm>
          <a:off x="1590096" y="3442354"/>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b="1" kern="1200"/>
            <a:t>Committing</a:t>
          </a:r>
          <a:r>
            <a:rPr lang="en-US" sz="2500" kern="1200"/>
            <a:t>: Snapshots of changes in staging area </a:t>
          </a:r>
        </a:p>
      </dsp:txBody>
      <dsp:txXfrm>
        <a:off x="1590096" y="3442354"/>
        <a:ext cx="9290628" cy="13767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A105F2-FF6A-4B88-AE66-9AED1CAE22C3}">
      <dsp:nvSpPr>
        <dsp:cNvPr id="0" name=""/>
        <dsp:cNvSpPr/>
      </dsp:nvSpPr>
      <dsp:spPr>
        <a:xfrm>
          <a:off x="1511" y="105761"/>
          <a:ext cx="1967792" cy="196779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D69B8C-A6B2-4788-A924-F8D4CBBC195A}">
      <dsp:nvSpPr>
        <dsp:cNvPr id="0" name=""/>
        <dsp:cNvSpPr/>
      </dsp:nvSpPr>
      <dsp:spPr>
        <a:xfrm>
          <a:off x="577249" y="1273311"/>
          <a:ext cx="1967792" cy="196779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Created with command: </a:t>
          </a:r>
          <a:br>
            <a:rPr lang="en-US" sz="2000" kern="1200"/>
          </a:br>
          <a:r>
            <a:rPr lang="en-US" sz="2000" b="1" kern="1200"/>
            <a:t>git </a:t>
          </a:r>
          <a:r>
            <a:rPr lang="en-US" sz="2000" b="1" kern="1200" err="1"/>
            <a:t>init</a:t>
          </a:r>
          <a:endParaRPr lang="en-US" sz="2000" b="1" kern="1200"/>
        </a:p>
      </dsp:txBody>
      <dsp:txXfrm>
        <a:off x="634884" y="1330946"/>
        <a:ext cx="1852522" cy="1852522"/>
      </dsp:txXfrm>
    </dsp:sp>
    <dsp:sp modelId="{547C5638-2202-4245-96B0-30285B39634F}">
      <dsp:nvSpPr>
        <dsp:cNvPr id="0" name=""/>
        <dsp:cNvSpPr/>
      </dsp:nvSpPr>
      <dsp:spPr>
        <a:xfrm>
          <a:off x="2348343" y="853240"/>
          <a:ext cx="379040" cy="47283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2348343" y="947807"/>
        <a:ext cx="265328" cy="283699"/>
      </dsp:txXfrm>
    </dsp:sp>
    <dsp:sp modelId="{8B4C0564-E831-464F-9F45-F667F88E1399}">
      <dsp:nvSpPr>
        <dsp:cNvPr id="0" name=""/>
        <dsp:cNvSpPr/>
      </dsp:nvSpPr>
      <dsp:spPr>
        <a:xfrm>
          <a:off x="3052275" y="105761"/>
          <a:ext cx="1967792" cy="1967792"/>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16E577-92C8-4AF6-B5C2-197F071FFF70}">
      <dsp:nvSpPr>
        <dsp:cNvPr id="0" name=""/>
        <dsp:cNvSpPr/>
      </dsp:nvSpPr>
      <dsp:spPr>
        <a:xfrm>
          <a:off x="3628013" y="1273311"/>
          <a:ext cx="1967792" cy="1967792"/>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Git creates a </a:t>
          </a:r>
          <a:br>
            <a:rPr lang="en-US" sz="2000" kern="1200"/>
          </a:br>
          <a:r>
            <a:rPr lang="en-US" sz="2000" b="1" kern="1200"/>
            <a:t>.git folder</a:t>
          </a:r>
        </a:p>
      </dsp:txBody>
      <dsp:txXfrm>
        <a:off x="3685648" y="1330946"/>
        <a:ext cx="1852522" cy="1852522"/>
      </dsp:txXfrm>
    </dsp:sp>
    <dsp:sp modelId="{455EBD83-40E2-4129-9349-1B7A1FDC999D}">
      <dsp:nvSpPr>
        <dsp:cNvPr id="0" name=""/>
        <dsp:cNvSpPr/>
      </dsp:nvSpPr>
      <dsp:spPr>
        <a:xfrm>
          <a:off x="5399108" y="853240"/>
          <a:ext cx="379040" cy="472833"/>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399108" y="947807"/>
        <a:ext cx="265328" cy="283699"/>
      </dsp:txXfrm>
    </dsp:sp>
    <dsp:sp modelId="{F7CD7CFD-F047-4BD3-A234-C7FAE97E9DC7}">
      <dsp:nvSpPr>
        <dsp:cNvPr id="0" name=""/>
        <dsp:cNvSpPr/>
      </dsp:nvSpPr>
      <dsp:spPr>
        <a:xfrm>
          <a:off x="6103040" y="105761"/>
          <a:ext cx="1967792" cy="1967792"/>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9170EA-3830-4B2B-9C77-8DFB2A5FB9C6}">
      <dsp:nvSpPr>
        <dsp:cNvPr id="0" name=""/>
        <dsp:cNvSpPr/>
      </dsp:nvSpPr>
      <dsp:spPr>
        <a:xfrm>
          <a:off x="6678778" y="1273311"/>
          <a:ext cx="1967792" cy="1967792"/>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git folder contains </a:t>
          </a:r>
          <a:r>
            <a:rPr lang="en-US" sz="2000" b="1" kern="1200"/>
            <a:t>information</a:t>
          </a:r>
          <a:r>
            <a:rPr lang="en-US" sz="2000" kern="1200"/>
            <a:t> needed for Git to function</a:t>
          </a:r>
        </a:p>
      </dsp:txBody>
      <dsp:txXfrm>
        <a:off x="6736413" y="1330946"/>
        <a:ext cx="1852522" cy="1852522"/>
      </dsp:txXfrm>
    </dsp:sp>
    <dsp:sp modelId="{EB483C2D-F794-4C1D-885B-93AB245BD9AD}">
      <dsp:nvSpPr>
        <dsp:cNvPr id="0" name=""/>
        <dsp:cNvSpPr/>
      </dsp:nvSpPr>
      <dsp:spPr>
        <a:xfrm>
          <a:off x="8449873" y="853240"/>
          <a:ext cx="379040" cy="47283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8449873" y="947807"/>
        <a:ext cx="265328" cy="283699"/>
      </dsp:txXfrm>
    </dsp:sp>
    <dsp:sp modelId="{FB9BFBD7-69B1-43D7-9822-C1E28470EBA1}">
      <dsp:nvSpPr>
        <dsp:cNvPr id="0" name=""/>
        <dsp:cNvSpPr/>
      </dsp:nvSpPr>
      <dsp:spPr>
        <a:xfrm>
          <a:off x="9153805" y="105761"/>
          <a:ext cx="1967792" cy="1967792"/>
        </a:xfrm>
        <a:prstGeom prst="roundRect">
          <a:avLst>
            <a:gd name="adj" fmla="val 1000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945834-A62B-4C38-979A-15E02DE0C93E}">
      <dsp:nvSpPr>
        <dsp:cNvPr id="0" name=""/>
        <dsp:cNvSpPr/>
      </dsp:nvSpPr>
      <dsp:spPr>
        <a:xfrm>
          <a:off x="9474143" y="1286436"/>
          <a:ext cx="1967792" cy="1967792"/>
        </a:xfrm>
        <a:prstGeom prst="roundRect">
          <a:avLst>
            <a:gd name="adj" fmla="val 100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o </a:t>
          </a:r>
          <a:r>
            <a:rPr lang="en-US" sz="2000" b="1" kern="1200"/>
            <a:t>remove</a:t>
          </a:r>
          <a:r>
            <a:rPr lang="en-US" sz="2000" kern="1200"/>
            <a:t> Git, remove the .git folder and retain all project files</a:t>
          </a:r>
        </a:p>
      </dsp:txBody>
      <dsp:txXfrm>
        <a:off x="9531778" y="1344071"/>
        <a:ext cx="1852522" cy="185252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5BA6B6-5C89-4F89-AB0A-1CAE6D567F9A}">
      <dsp:nvSpPr>
        <dsp:cNvPr id="0" name=""/>
        <dsp:cNvSpPr/>
      </dsp:nvSpPr>
      <dsp:spPr>
        <a:xfrm>
          <a:off x="0" y="93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ECED06-CBA6-4C81-AC66-22449162FB64}">
      <dsp:nvSpPr>
        <dsp:cNvPr id="0" name=""/>
        <dsp:cNvSpPr/>
      </dsp:nvSpPr>
      <dsp:spPr>
        <a:xfrm>
          <a:off x="0" y="937"/>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Files are created / edited in </a:t>
          </a:r>
          <a:r>
            <a:rPr lang="en-US" sz="2400" b="1" kern="1200" baseline="0"/>
            <a:t>workspace</a:t>
          </a:r>
          <a:endParaRPr lang="en-US" sz="2400" b="1" kern="1200"/>
        </a:p>
      </dsp:txBody>
      <dsp:txXfrm>
        <a:off x="0" y="937"/>
        <a:ext cx="10972800" cy="639454"/>
      </dsp:txXfrm>
    </dsp:sp>
    <dsp:sp modelId="{AA74A982-E11E-4E11-8B34-D4B95327D598}">
      <dsp:nvSpPr>
        <dsp:cNvPr id="0" name=""/>
        <dsp:cNvSpPr/>
      </dsp:nvSpPr>
      <dsp:spPr>
        <a:xfrm>
          <a:off x="0" y="64039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CB22C0-9696-40C2-A9F5-CB2910D1E719}">
      <dsp:nvSpPr>
        <dsp:cNvPr id="0" name=""/>
        <dsp:cNvSpPr/>
      </dsp:nvSpPr>
      <dsp:spPr>
        <a:xfrm>
          <a:off x="0" y="640392"/>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To track a file, it first must be added to the </a:t>
          </a:r>
          <a:r>
            <a:rPr lang="en-US" sz="2400" b="1" kern="1200" baseline="0"/>
            <a:t>staging</a:t>
          </a:r>
          <a:r>
            <a:rPr lang="en-US" sz="2400" kern="1200" baseline="0"/>
            <a:t> area</a:t>
          </a:r>
          <a:endParaRPr lang="en-US" sz="2400" kern="1200"/>
        </a:p>
      </dsp:txBody>
      <dsp:txXfrm>
        <a:off x="0" y="640392"/>
        <a:ext cx="10972800" cy="639454"/>
      </dsp:txXfrm>
    </dsp:sp>
    <dsp:sp modelId="{3FBC3CB7-E7CF-4BBF-9AE7-14C9952C704C}">
      <dsp:nvSpPr>
        <dsp:cNvPr id="0" name=""/>
        <dsp:cNvSpPr/>
      </dsp:nvSpPr>
      <dsp:spPr>
        <a:xfrm>
          <a:off x="0" y="127984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1FDAC-113A-4052-A648-77077E515C45}">
      <dsp:nvSpPr>
        <dsp:cNvPr id="0" name=""/>
        <dsp:cNvSpPr/>
      </dsp:nvSpPr>
      <dsp:spPr>
        <a:xfrm>
          <a:off x="0" y="1279847"/>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Staged files can then be </a:t>
          </a:r>
          <a:r>
            <a:rPr lang="en-US" sz="2400" b="1" kern="1200" baseline="0"/>
            <a:t>committed</a:t>
          </a:r>
          <a:r>
            <a:rPr lang="en-US" sz="2400" kern="1200" baseline="0"/>
            <a:t> (snapshot of current staging area)</a:t>
          </a:r>
          <a:endParaRPr lang="en-US" sz="2400" kern="1200"/>
        </a:p>
      </dsp:txBody>
      <dsp:txXfrm>
        <a:off x="0" y="1279847"/>
        <a:ext cx="10972800" cy="63945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42FD0-8DD3-4230-A45D-F781F3868A8D}">
      <dsp:nvSpPr>
        <dsp:cNvPr id="0" name=""/>
        <dsp:cNvSpPr/>
      </dsp:nvSpPr>
      <dsp:spPr>
        <a:xfrm>
          <a:off x="0" y="2546773"/>
          <a:ext cx="10972800" cy="8359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Commit </a:t>
          </a:r>
          <a:r>
            <a:rPr lang="en-US" sz="2400" kern="1200">
              <a:latin typeface="Segoe UI Semibold"/>
            </a:rPr>
            <a:t>File</a:t>
          </a:r>
          <a:r>
            <a:rPr lang="en-US" sz="2400" kern="1200"/>
            <a:t>(s)</a:t>
          </a:r>
        </a:p>
      </dsp:txBody>
      <dsp:txXfrm>
        <a:off x="0" y="2546773"/>
        <a:ext cx="10972800" cy="835908"/>
      </dsp:txXfrm>
    </dsp:sp>
    <dsp:sp modelId="{764612B9-7EFD-418C-9267-F7C8EE93FD13}">
      <dsp:nvSpPr>
        <dsp:cNvPr id="0" name=""/>
        <dsp:cNvSpPr/>
      </dsp:nvSpPr>
      <dsp:spPr>
        <a:xfrm rot="10800000">
          <a:off x="0" y="1273685"/>
          <a:ext cx="10972800" cy="1285626"/>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kern="1200"/>
            <a:t>Add to </a:t>
          </a:r>
          <a:r>
            <a:rPr lang="en-US" sz="2400" kern="1200">
              <a:latin typeface="Segoe UI Semibold"/>
            </a:rPr>
            <a:t>Staging Area</a:t>
          </a:r>
          <a:endParaRPr lang="en-US" sz="2400" kern="1200"/>
        </a:p>
      </dsp:txBody>
      <dsp:txXfrm rot="10800000">
        <a:off x="0" y="1273685"/>
        <a:ext cx="10972800" cy="835361"/>
      </dsp:txXfrm>
    </dsp:sp>
    <dsp:sp modelId="{47FE52F2-6633-44E9-BEF3-9AA18A2D8562}">
      <dsp:nvSpPr>
        <dsp:cNvPr id="0" name=""/>
        <dsp:cNvSpPr/>
      </dsp:nvSpPr>
      <dsp:spPr>
        <a:xfrm rot="10800000">
          <a:off x="0" y="598"/>
          <a:ext cx="10972800" cy="1285626"/>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Create </a:t>
          </a:r>
          <a:r>
            <a:rPr lang="en-US" sz="2400" kern="1200">
              <a:latin typeface="Segoe UI Semibold"/>
            </a:rPr>
            <a:t>New</a:t>
          </a:r>
          <a:r>
            <a:rPr lang="en-US" sz="2400" kern="1200"/>
            <a:t> </a:t>
          </a:r>
          <a:r>
            <a:rPr lang="en-US" sz="2400" kern="1200">
              <a:latin typeface="Segoe UI Semibold"/>
            </a:rPr>
            <a:t>File</a:t>
          </a:r>
          <a:r>
            <a:rPr lang="en-US" sz="2400" kern="1200"/>
            <a:t>(s)</a:t>
          </a:r>
        </a:p>
      </dsp:txBody>
      <dsp:txXfrm rot="10800000">
        <a:off x="0" y="598"/>
        <a:ext cx="10972800" cy="835361"/>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19.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2/9/2022 3:3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a:t>2/9/2022</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arketplace.visualstudio.com/items?itemName=pomber.git-file-history"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marketplace.visualstudio.com/VSCod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3A2C140-83BD-40D6-8C95-CECD0F16B769}" type="datetime1">
              <a:rPr lang="en-US"/>
              <a:t>2/9/2022</a:t>
            </a:fld>
            <a:endParaRPr lang="en-US"/>
          </a:p>
        </p:txBody>
      </p:sp>
    </p:spTree>
    <p:extLst>
      <p:ext uri="{BB962C8B-B14F-4D97-AF65-F5344CB8AC3E}">
        <p14:creationId xmlns:p14="http://schemas.microsoft.com/office/powerpoint/2010/main" val="4184218448"/>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D571F3B-9B98-4619-862C-2F62F7A52C26}" type="datetime1">
              <a:rPr lang="en-US"/>
              <a:t>2/9/2022</a:t>
            </a:fld>
            <a:endParaRPr lang="en-US"/>
          </a:p>
        </p:txBody>
      </p:sp>
    </p:spTree>
    <p:extLst>
      <p:ext uri="{BB962C8B-B14F-4D97-AF65-F5344CB8AC3E}">
        <p14:creationId xmlns:p14="http://schemas.microsoft.com/office/powerpoint/2010/main" val="3814577698"/>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94D06A16-D518-468F-B380-251AD3E775BB}" type="datetime1">
              <a:rPr lang="en-US"/>
              <a:t>2/9/2022</a:t>
            </a:fld>
            <a:endParaRPr lang="en-US"/>
          </a:p>
        </p:txBody>
      </p:sp>
    </p:spTree>
    <p:extLst>
      <p:ext uri="{BB962C8B-B14F-4D97-AF65-F5344CB8AC3E}">
        <p14:creationId xmlns:p14="http://schemas.microsoft.com/office/powerpoint/2010/main" val="256370947"/>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DBD59A9-0E7B-47C7-971F-7C98DF7C77F7}" type="datetime1">
              <a:rPr lang="en-US" smtClean="0"/>
              <a:t>2/9/2022</a:t>
            </a:fld>
            <a:endParaRPr lang="en-US"/>
          </a:p>
        </p:txBody>
      </p:sp>
    </p:spTree>
    <p:extLst>
      <p:ext uri="{BB962C8B-B14F-4D97-AF65-F5344CB8AC3E}">
        <p14:creationId xmlns:p14="http://schemas.microsoft.com/office/powerpoint/2010/main" val="4176312389"/>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FFBA75BA-12EE-41C3-963A-4179509442B0}" type="datetime1">
              <a:rPr lang="en-US" smtClean="0"/>
              <a:t>2/9/2022</a:t>
            </a:fld>
            <a:endParaRPr lang="en-US"/>
          </a:p>
        </p:txBody>
      </p:sp>
    </p:spTree>
    <p:extLst>
      <p:ext uri="{BB962C8B-B14F-4D97-AF65-F5344CB8AC3E}">
        <p14:creationId xmlns:p14="http://schemas.microsoft.com/office/powerpoint/2010/main" val="1384695135"/>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04FA78C7-4306-44A7-AD47-58AECBD40A48}" type="datetime1">
              <a:rPr lang="en-US" smtClean="0"/>
              <a:t>2/9/2022</a:t>
            </a:fld>
            <a:endParaRPr lang="en-US"/>
          </a:p>
        </p:txBody>
      </p:sp>
    </p:spTree>
    <p:extLst>
      <p:ext uri="{BB962C8B-B14F-4D97-AF65-F5344CB8AC3E}">
        <p14:creationId xmlns:p14="http://schemas.microsoft.com/office/powerpoint/2010/main" val="2556026976"/>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lang="en-US"/>
          </a:p>
          <a:p>
            <a:pPr marL="0" marR="0" lvl="0" indent="0" algn="l" defTabSz="914460" rtl="0" eaLnBrk="1" fontAlgn="auto" latinLnBrk="0" hangingPunct="1">
              <a:lnSpc>
                <a:spcPct val="100000"/>
              </a:lnSpc>
              <a:spcBef>
                <a:spcPts val="0"/>
              </a:spcBef>
              <a:spcAft>
                <a:spcPts val="0"/>
              </a:spcAft>
              <a:buClrTx/>
              <a:buSzTx/>
              <a:buFontTx/>
              <a:buNone/>
              <a:tabLst/>
              <a:defRPr/>
            </a:pPr>
            <a:endParaRPr lang="en-US"/>
          </a:p>
          <a:p>
            <a:pPr marL="0" marR="0" lvl="0" indent="0" algn="l" defTabSz="914460" rtl="0" eaLnBrk="1" fontAlgn="auto" latinLnBrk="0" hangingPunct="1">
              <a:lnSpc>
                <a:spcPct val="100000"/>
              </a:lnSpc>
              <a:spcBef>
                <a:spcPts val="0"/>
              </a:spcBef>
              <a:spcAft>
                <a:spcPts val="0"/>
              </a:spcAft>
              <a:buClrTx/>
              <a:buSzTx/>
              <a:buFontTx/>
              <a:buNone/>
              <a:tabLst/>
              <a:defRPr/>
            </a:pPr>
            <a:r>
              <a:rPr lang="en-US"/>
              <a:t>Git File History: </a:t>
            </a:r>
            <a:r>
              <a:rPr lang="en-US">
                <a:hlinkClick r:id="rId3"/>
              </a:rPr>
              <a:t>https://marketplace.visualstudio.com/items?itemName=pomber.git-file-history</a:t>
            </a:r>
            <a:r>
              <a:rPr lang="en-US"/>
              <a:t> </a:t>
            </a:r>
          </a:p>
          <a:p>
            <a:endParaRPr lang="en-US"/>
          </a:p>
        </p:txBody>
      </p:sp>
      <p:sp>
        <p:nvSpPr>
          <p:cNvPr id="4" name="Date Placeholder 3"/>
          <p:cNvSpPr>
            <a:spLocks noGrp="1"/>
          </p:cNvSpPr>
          <p:nvPr>
            <p:ph type="dt" idx="1"/>
          </p:nvPr>
        </p:nvSpPr>
        <p:spPr/>
        <p:txBody>
          <a:bodyPr/>
          <a:lstStyle/>
          <a:p>
            <a:fld id="{B714CE38-ED1A-49CF-8625-75C7628C861F}" type="datetime1">
              <a:rPr lang="en-US" smtClean="0"/>
              <a:t>2/9/2022</a:t>
            </a:fld>
            <a:endParaRPr lang="en-US"/>
          </a:p>
        </p:txBody>
      </p:sp>
    </p:spTree>
    <p:extLst>
      <p:ext uri="{BB962C8B-B14F-4D97-AF65-F5344CB8AC3E}">
        <p14:creationId xmlns:p14="http://schemas.microsoft.com/office/powerpoint/2010/main" val="153568035"/>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4EE7165-E8EF-4B20-8E8F-1A64322A12E9}" type="datetime1">
              <a:rPr lang="en-US" smtClean="0"/>
              <a:t>2/9/2022</a:t>
            </a:fld>
            <a:endParaRPr lang="en-US"/>
          </a:p>
        </p:txBody>
      </p:sp>
    </p:spTree>
    <p:extLst>
      <p:ext uri="{BB962C8B-B14F-4D97-AF65-F5344CB8AC3E}">
        <p14:creationId xmlns:p14="http://schemas.microsoft.com/office/powerpoint/2010/main" val="1634395614"/>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21</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2/9/2022 1:53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flicts occur if someone made changed to a file that you ALSO changed, so you need to integrate their changed with your changed before you can commit. </a:t>
            </a:r>
          </a:p>
        </p:txBody>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347670194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a:t>Conflicts occur if someone made changed to a file that you ALSO changed, so you need to integrate their changed with your changed before you can commit. </a:t>
            </a:r>
          </a:p>
          <a:p>
            <a:endParaRPr lang="en-US"/>
          </a:p>
        </p:txBody>
      </p:sp>
      <p:sp>
        <p:nvSpPr>
          <p:cNvPr id="4" name="Date Placeholder 3"/>
          <p:cNvSpPr>
            <a:spLocks noGrp="1"/>
          </p:cNvSpPr>
          <p:nvPr>
            <p:ph type="dt" idx="1"/>
          </p:nvPr>
        </p:nvSpPr>
        <p:spPr/>
        <p:txBody>
          <a:bodyPr/>
          <a:lstStyle/>
          <a:p>
            <a:fld id="{3D571F3B-9B98-4619-862C-2F62F7A52C26}" type="datetime1">
              <a:rPr lang="en-US"/>
              <a:t>2/9/2022</a:t>
            </a:fld>
            <a:endParaRPr lang="en-US"/>
          </a:p>
        </p:txBody>
      </p:sp>
    </p:spTree>
    <p:extLst>
      <p:ext uri="{BB962C8B-B14F-4D97-AF65-F5344CB8AC3E}">
        <p14:creationId xmlns:p14="http://schemas.microsoft.com/office/powerpoint/2010/main" val="3530179467"/>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ke a local change to a file</a:t>
            </a:r>
          </a:p>
          <a:p>
            <a:r>
              <a:rPr lang="en-US"/>
              <a:t>git status</a:t>
            </a:r>
          </a:p>
          <a:p>
            <a:r>
              <a:rPr lang="en-US"/>
              <a:t>git push</a:t>
            </a:r>
          </a:p>
          <a:p>
            <a:endParaRPr lang="en-US"/>
          </a:p>
          <a:p>
            <a:r>
              <a:rPr lang="en-US"/>
              <a:t>Show the file in </a:t>
            </a:r>
            <a:r>
              <a:rPr lang="en-US" err="1"/>
              <a:t>github</a:t>
            </a:r>
            <a:endParaRPr lang="en-US"/>
          </a:p>
        </p:txBody>
      </p:sp>
      <p:sp>
        <p:nvSpPr>
          <p:cNvPr id="4" name="Date Placeholder 3"/>
          <p:cNvSpPr>
            <a:spLocks noGrp="1"/>
          </p:cNvSpPr>
          <p:nvPr>
            <p:ph type="dt" idx="1"/>
          </p:nvPr>
        </p:nvSpPr>
        <p:spPr/>
        <p:txBody>
          <a:bodyPr/>
          <a:lstStyle/>
          <a:p>
            <a:fld id="{999B5699-FCD8-40ED-8FD7-619B676327D6}" type="datetime1">
              <a:rPr lang="en-US" smtClean="0"/>
              <a:t>2/9/2022</a:t>
            </a:fld>
            <a:endParaRPr lang="en-US"/>
          </a:p>
        </p:txBody>
      </p:sp>
    </p:spTree>
    <p:extLst>
      <p:ext uri="{BB962C8B-B14F-4D97-AF65-F5344CB8AC3E}">
        <p14:creationId xmlns:p14="http://schemas.microsoft.com/office/powerpoint/2010/main" val="1401348568"/>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ke a change to a file in </a:t>
            </a:r>
            <a:r>
              <a:rPr lang="en-US" err="1"/>
              <a:t>github</a:t>
            </a:r>
            <a:endParaRPr lang="en-US"/>
          </a:p>
          <a:p>
            <a:r>
              <a:rPr lang="en-US"/>
              <a:t>git status</a:t>
            </a:r>
          </a:p>
          <a:p>
            <a:r>
              <a:rPr lang="en-US"/>
              <a:t>git fetch</a:t>
            </a:r>
          </a:p>
          <a:p>
            <a:r>
              <a:rPr lang="en-US"/>
              <a:t>git status</a:t>
            </a:r>
          </a:p>
          <a:p>
            <a:r>
              <a:rPr lang="en-US"/>
              <a:t>git pull</a:t>
            </a:r>
          </a:p>
          <a:p>
            <a:endParaRPr lang="en-US"/>
          </a:p>
          <a:p>
            <a:r>
              <a:rPr lang="en-US"/>
              <a:t>Show the file locally</a:t>
            </a:r>
          </a:p>
          <a:p>
            <a:endParaRPr lang="en-US"/>
          </a:p>
        </p:txBody>
      </p:sp>
      <p:sp>
        <p:nvSpPr>
          <p:cNvPr id="4" name="Date Placeholder 3"/>
          <p:cNvSpPr>
            <a:spLocks noGrp="1"/>
          </p:cNvSpPr>
          <p:nvPr>
            <p:ph type="dt" idx="1"/>
          </p:nvPr>
        </p:nvSpPr>
        <p:spPr/>
        <p:txBody>
          <a:bodyPr/>
          <a:lstStyle/>
          <a:p>
            <a:fld id="{6E7DF915-47E0-499D-9B9F-84E6AFD2B711}" type="datetime1">
              <a:rPr lang="en-US" smtClean="0"/>
              <a:t>2/9/2022</a:t>
            </a:fld>
            <a:endParaRPr lang="en-US"/>
          </a:p>
        </p:txBody>
      </p:sp>
    </p:spTree>
    <p:extLst>
      <p:ext uri="{BB962C8B-B14F-4D97-AF65-F5344CB8AC3E}">
        <p14:creationId xmlns:p14="http://schemas.microsoft.com/office/powerpoint/2010/main" val="381695711"/>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learn how to resolve conflicts in the lab, but feel free to show it here too. </a:t>
            </a:r>
          </a:p>
          <a:p>
            <a:pPr marL="228600" indent="-228600">
              <a:buAutoNum type="arabicPeriod"/>
            </a:pPr>
            <a:r>
              <a:rPr lang="en-US"/>
              <a:t>Change file on desktop and commit</a:t>
            </a:r>
          </a:p>
          <a:p>
            <a:pPr marL="228600" indent="-228600">
              <a:buAutoNum type="arabicPeriod"/>
            </a:pPr>
            <a:r>
              <a:rPr lang="en-US"/>
              <a:t>Change file on </a:t>
            </a:r>
            <a:r>
              <a:rPr lang="en-US" err="1"/>
              <a:t>github</a:t>
            </a:r>
            <a:r>
              <a:rPr lang="en-US"/>
              <a:t> and commit</a:t>
            </a:r>
          </a:p>
          <a:p>
            <a:pPr marL="228600" indent="-228600">
              <a:buAutoNum type="arabicPeriod"/>
            </a:pPr>
            <a:r>
              <a:rPr lang="en-US"/>
              <a:t>git push</a:t>
            </a:r>
          </a:p>
          <a:p>
            <a:pPr marL="228600" indent="-228600">
              <a:buAutoNum type="arabicPeriod"/>
            </a:pPr>
            <a:r>
              <a:rPr lang="en-US"/>
              <a:t>git pull</a:t>
            </a:r>
          </a:p>
          <a:p>
            <a:pPr marL="228600" indent="-228600">
              <a:buAutoNum type="arabicPeriod"/>
            </a:pPr>
            <a:r>
              <a:rPr lang="en-US"/>
              <a:t>Resolve conflict if you want</a:t>
            </a:r>
          </a:p>
        </p:txBody>
      </p:sp>
      <p:sp>
        <p:nvSpPr>
          <p:cNvPr id="4" name="Date Placeholder 3"/>
          <p:cNvSpPr>
            <a:spLocks noGrp="1"/>
          </p:cNvSpPr>
          <p:nvPr>
            <p:ph type="dt" idx="1"/>
          </p:nvPr>
        </p:nvSpPr>
        <p:spPr/>
        <p:txBody>
          <a:bodyPr/>
          <a:lstStyle/>
          <a:p>
            <a:fld id="{081A2BFA-DFF3-4CCF-98C1-0DECFE1731C1}" type="datetime1">
              <a:rPr lang="en-US" smtClean="0"/>
              <a:t>2/9/2022</a:t>
            </a:fld>
            <a:endParaRPr lang="en-US"/>
          </a:p>
        </p:txBody>
      </p:sp>
    </p:spTree>
    <p:extLst>
      <p:ext uri="{BB962C8B-B14F-4D97-AF65-F5344CB8AC3E}">
        <p14:creationId xmlns:p14="http://schemas.microsoft.com/office/powerpoint/2010/main" val="406575520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descriptions are short and appear on the side of the project web page</a:t>
            </a:r>
          </a:p>
          <a:p>
            <a:pPr marL="171450" indent="-171450">
              <a:buFont typeface="Arial" panose="020B0604020202020204" pitchFamily="34" charset="0"/>
              <a:buChar char="•"/>
            </a:pPr>
            <a:r>
              <a:rPr lang="en-US"/>
              <a:t>Readme files are in markdown and displayed by default on the page</a:t>
            </a:r>
          </a:p>
          <a:p>
            <a:pPr marL="171450" indent="-171450">
              <a:buFont typeface="Arial" panose="020B0604020202020204" pitchFamily="34" charset="0"/>
              <a:buChar char="•"/>
            </a:pPr>
            <a:r>
              <a:rPr lang="en-US" err="1"/>
              <a:t>Gitignore</a:t>
            </a:r>
            <a:r>
              <a:rPr lang="en-US"/>
              <a:t> files let you exempt files from tracking</a:t>
            </a:r>
          </a:p>
        </p:txBody>
      </p:sp>
      <p:sp>
        <p:nvSpPr>
          <p:cNvPr id="4" name="Date Placeholder 3"/>
          <p:cNvSpPr>
            <a:spLocks noGrp="1"/>
          </p:cNvSpPr>
          <p:nvPr>
            <p:ph type="dt" idx="1"/>
          </p:nvPr>
        </p:nvSpPr>
        <p:spPr/>
        <p:txBody>
          <a:bodyPr/>
          <a:lstStyle/>
          <a:p>
            <a:fld id="{14C22BA2-3557-4C09-90D0-BE91253D9539}" type="datetime1">
              <a:rPr lang="en-US" smtClean="0"/>
              <a:t>2/9/2022</a:t>
            </a:fld>
            <a:endParaRPr lang="en-US"/>
          </a:p>
        </p:txBody>
      </p:sp>
    </p:spTree>
    <p:extLst>
      <p:ext uri="{BB962C8B-B14F-4D97-AF65-F5344CB8AC3E}">
        <p14:creationId xmlns:p14="http://schemas.microsoft.com/office/powerpoint/2010/main" val="427515141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5F4FF28B-CC80-4799-A340-ABA7B9DB79C4}" type="datetime1">
              <a:rPr lang="en-US"/>
              <a:t>2/9/2022</a:t>
            </a:fld>
            <a:endParaRPr lang="en-US"/>
          </a:p>
        </p:txBody>
      </p:sp>
    </p:spTree>
    <p:extLst>
      <p:ext uri="{BB962C8B-B14F-4D97-AF65-F5344CB8AC3E}">
        <p14:creationId xmlns:p14="http://schemas.microsoft.com/office/powerpoint/2010/main" val="216583766"/>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35521B0-FC90-4F81-8780-B175596506C8}" type="datetime1">
              <a:rPr lang="en-US" smtClean="0"/>
              <a:t>2/9/2022</a:t>
            </a:fld>
            <a:endParaRPr lang="en-US"/>
          </a:p>
        </p:txBody>
      </p:sp>
    </p:spTree>
    <p:extLst>
      <p:ext uri="{BB962C8B-B14F-4D97-AF65-F5344CB8AC3E}">
        <p14:creationId xmlns:p14="http://schemas.microsoft.com/office/powerpoint/2010/main" val="1554761251"/>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0</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751624634"/>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3911948002"/>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886495079"/>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2700147607"/>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4239210754"/>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6ECD551E-9A15-4B4E-9D2E-463DAD9C926C}" type="datetime1">
              <a:rPr lang="en-US" smtClean="0"/>
              <a:t>2/9/2022</a:t>
            </a:fld>
            <a:endParaRPr lang="en-US"/>
          </a:p>
        </p:txBody>
      </p:sp>
    </p:spTree>
    <p:extLst>
      <p:ext uri="{BB962C8B-B14F-4D97-AF65-F5344CB8AC3E}">
        <p14:creationId xmlns:p14="http://schemas.microsoft.com/office/powerpoint/2010/main" val="729093765"/>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6ECD551E-9A15-4B4E-9D2E-463DAD9C926C}" type="datetime1">
              <a:rPr lang="en-US" smtClean="0"/>
              <a:t>2/9/2022</a:t>
            </a:fld>
            <a:endParaRPr lang="en-US"/>
          </a:p>
        </p:txBody>
      </p:sp>
    </p:spTree>
    <p:extLst>
      <p:ext uri="{BB962C8B-B14F-4D97-AF65-F5344CB8AC3E}">
        <p14:creationId xmlns:p14="http://schemas.microsoft.com/office/powerpoint/2010/main" val="2674007014"/>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AE0C7183-721B-40F6-A3D4-710DDB684893}" type="datetime1">
              <a:rPr lang="en-US" smtClean="0"/>
              <a:t>2/9/2022</a:t>
            </a:fld>
            <a:endParaRPr lang="en-US"/>
          </a:p>
        </p:txBody>
      </p:sp>
    </p:spTree>
    <p:extLst>
      <p:ext uri="{BB962C8B-B14F-4D97-AF65-F5344CB8AC3E}">
        <p14:creationId xmlns:p14="http://schemas.microsoft.com/office/powerpoint/2010/main" val="4061313539"/>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4D4D4D"/>
                </a:solidFill>
                <a:effectLst/>
                <a:latin typeface="-apple-system"/>
              </a:rPr>
              <a:t>Git will permanently delete any orphaned commits after it runs the internal garbage collector. By default, Git is configured to run the garbage collector every 30 days.</a:t>
            </a:r>
          </a:p>
          <a:p>
            <a:endParaRPr lang="en-US" b="0" i="0">
              <a:solidFill>
                <a:srgbClr val="4D4D4D"/>
              </a:solidFill>
              <a:effectLst/>
              <a:latin typeface="-apple-system"/>
            </a:endParaRPr>
          </a:p>
          <a:p>
            <a:endParaRPr lang="en-US"/>
          </a:p>
        </p:txBody>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1833678668"/>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8</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3080104153"/>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sual Studio Code combines the simplicity of a source code editor with powerful developer tooling, like IntelliSense code completion and debugging.</a:t>
            </a:r>
          </a:p>
          <a:p>
            <a:endParaRPr lang="en-US"/>
          </a:p>
          <a:p>
            <a:r>
              <a:rPr lang="en-US"/>
              <a:t>First and foremost, it is an editor that gets out of your way. The delightfully frictionless edit-build-debug cycle means less time fiddling with your environment, and more time executing on your ideas.</a:t>
            </a:r>
          </a:p>
          <a:p>
            <a:endParaRPr lang="en-US"/>
          </a:p>
          <a:p>
            <a:r>
              <a:rPr lang="en-US"/>
              <a:t>Available for macOS, Linux, and Windows:</a:t>
            </a:r>
          </a:p>
          <a:p>
            <a:r>
              <a:rPr lang="en-US"/>
              <a:t>Visual Studio Code supports macOS, Linux, and Windows - so you can hit the ground running, no matter the platform.</a:t>
            </a:r>
          </a:p>
        </p:txBody>
      </p:sp>
      <p:sp>
        <p:nvSpPr>
          <p:cNvPr id="4" name="Date Placeholder 3"/>
          <p:cNvSpPr>
            <a:spLocks noGrp="1"/>
          </p:cNvSpPr>
          <p:nvPr>
            <p:ph type="dt" idx="1"/>
          </p:nvPr>
        </p:nvSpPr>
        <p:spPr/>
        <p:txBody>
          <a:bodyPr/>
          <a:lstStyle/>
          <a:p>
            <a:fld id="{F3FD8E48-6B37-4ACD-832B-B3C399F9A199}" type="datetime1">
              <a:rPr lang="en-US" smtClean="0"/>
              <a:t>2/9/2022</a:t>
            </a:fld>
            <a:endParaRPr lang="en-US"/>
          </a:p>
        </p:txBody>
      </p:sp>
    </p:spTree>
    <p:extLst>
      <p:ext uri="{BB962C8B-B14F-4D97-AF65-F5344CB8AC3E}">
        <p14:creationId xmlns:p14="http://schemas.microsoft.com/office/powerpoint/2010/main" val="290564438"/>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int out how similar it is to the ISE, but that extensions allow for many new features.</a:t>
            </a:r>
          </a:p>
          <a:p>
            <a:endParaRPr lang="en-US"/>
          </a:p>
          <a:p>
            <a:r>
              <a:rPr lang="en-US"/>
              <a:t>Two different versions of VSC available: </a:t>
            </a:r>
          </a:p>
          <a:p>
            <a:pPr marL="171450" indent="-171450">
              <a:buFont typeface="Arial" panose="020B0604020202020204" pitchFamily="34" charset="0"/>
              <a:buChar char="•"/>
            </a:pPr>
            <a:r>
              <a:rPr lang="en-US"/>
              <a:t>Stable version: Used for production</a:t>
            </a:r>
          </a:p>
          <a:p>
            <a:pPr marL="171450" indent="-171450">
              <a:buFont typeface="Arial" panose="020B0604020202020204" pitchFamily="34" charset="0"/>
              <a:buChar char="•"/>
            </a:pPr>
            <a:r>
              <a:rPr lang="en-US"/>
              <a:t>Insider's edition: </a:t>
            </a:r>
            <a:r>
              <a:rPr lang="en-US" sz="2400"/>
              <a:t>side-by-side install allowed</a:t>
            </a:r>
          </a:p>
          <a:p>
            <a:pPr marL="0" indent="0">
              <a:buFont typeface="Arial" panose="020B0604020202020204" pitchFamily="34" charset="0"/>
              <a:buNone/>
            </a:pPr>
            <a:endParaRPr lang="en-US" sz="2400"/>
          </a:p>
          <a:p>
            <a:endParaRPr lang="en-US"/>
          </a:p>
        </p:txBody>
      </p:sp>
      <p:sp>
        <p:nvSpPr>
          <p:cNvPr id="4" name="Date Placeholder 3"/>
          <p:cNvSpPr>
            <a:spLocks noGrp="1"/>
          </p:cNvSpPr>
          <p:nvPr>
            <p:ph type="dt" idx="1"/>
          </p:nvPr>
        </p:nvSpPr>
        <p:spPr/>
        <p:txBody>
          <a:bodyPr/>
          <a:lstStyle/>
          <a:p>
            <a:fld id="{F9E511F8-05AE-421A-8BFA-41B8227D36A7}" type="datetime1">
              <a:rPr lang="en-US" smtClean="0"/>
              <a:t>2/9/2022</a:t>
            </a:fld>
            <a:endParaRPr lang="en-US"/>
          </a:p>
        </p:txBody>
      </p:sp>
    </p:spTree>
    <p:extLst>
      <p:ext uri="{BB962C8B-B14F-4D97-AF65-F5344CB8AC3E}">
        <p14:creationId xmlns:p14="http://schemas.microsoft.com/office/powerpoint/2010/main" val="1808707455"/>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int out the convenient git extensions. </a:t>
            </a:r>
          </a:p>
          <a:p>
            <a:endParaRPr lang="en-US"/>
          </a:p>
          <a:p>
            <a:pPr marL="0" indent="0">
              <a:buFont typeface="Arial" panose="020B0604020202020204" pitchFamily="34" charset="0"/>
              <a:buNone/>
            </a:pPr>
            <a:r>
              <a:rPr lang="en-US" sz="2400"/>
              <a:t>Demo staging, committing, pushing, and conflicts in </a:t>
            </a:r>
            <a:r>
              <a:rPr lang="en-US" sz="2400" err="1"/>
              <a:t>VSCode</a:t>
            </a:r>
            <a:endParaRPr lang="en-US" sz="2400"/>
          </a:p>
          <a:p>
            <a:endParaRPr lang="en-US"/>
          </a:p>
        </p:txBody>
      </p:sp>
      <p:sp>
        <p:nvSpPr>
          <p:cNvPr id="4" name="Date Placeholder 3"/>
          <p:cNvSpPr>
            <a:spLocks noGrp="1"/>
          </p:cNvSpPr>
          <p:nvPr>
            <p:ph type="dt" idx="1"/>
          </p:nvPr>
        </p:nvSpPr>
        <p:spPr/>
        <p:txBody>
          <a:bodyPr/>
          <a:lstStyle/>
          <a:p>
            <a:fld id="{F9E511F8-05AE-421A-8BFA-41B8227D36A7}" type="datetime1">
              <a:rPr lang="en-US" smtClean="0"/>
              <a:t>2/9/2022</a:t>
            </a:fld>
            <a:endParaRPr lang="en-US"/>
          </a:p>
        </p:txBody>
      </p:sp>
    </p:spTree>
    <p:extLst>
      <p:ext uri="{BB962C8B-B14F-4D97-AF65-F5344CB8AC3E}">
        <p14:creationId xmlns:p14="http://schemas.microsoft.com/office/powerpoint/2010/main" val="16984251"/>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t>
            </a:r>
            <a:r>
              <a:rPr lang="en-US" sz="2400"/>
              <a:t>rack and manage changes to code (scripts, modules, </a:t>
            </a:r>
            <a:r>
              <a:rPr lang="en-US" sz="2400" err="1"/>
              <a:t>etc</a:t>
            </a:r>
            <a:r>
              <a:rPr lang="en-US" sz="2400"/>
              <a:t>)</a:t>
            </a:r>
          </a:p>
          <a:p>
            <a:endParaRPr lang="en-US" sz="2400"/>
          </a:p>
          <a:p>
            <a:r>
              <a:rPr lang="en-US"/>
              <a:t>Allows for version tracking</a:t>
            </a:r>
          </a:p>
          <a:p>
            <a:pPr lvl="1"/>
            <a:r>
              <a:rPr lang="en-US"/>
              <a:t>Enables the ability to roll back to an earlier version if there is a problem</a:t>
            </a:r>
          </a:p>
          <a:p>
            <a:pPr lvl="1"/>
            <a:r>
              <a:rPr lang="en-US"/>
              <a:t>Aides with managing updates to scripts that live on servers or are used by other engineers</a:t>
            </a:r>
          </a:p>
          <a:p>
            <a:pPr lvl="1"/>
            <a:endParaRPr lang="en-US"/>
          </a:p>
          <a:p>
            <a:r>
              <a:rPr lang="en-US"/>
              <a:t>Collaboration without the headache</a:t>
            </a:r>
          </a:p>
          <a:p>
            <a:pPr lvl="1"/>
            <a:r>
              <a:rPr lang="en-US"/>
              <a:t>Everyone has to integrate their changes, and those changes can be rolled back</a:t>
            </a:r>
          </a:p>
          <a:p>
            <a:pPr lvl="1"/>
            <a:r>
              <a:rPr lang="en-US"/>
              <a:t>Can get the most up-to-date version of any file at any time</a:t>
            </a:r>
          </a:p>
          <a:p>
            <a:pPr marL="107164" lvl="1" indent="0">
              <a:buNone/>
            </a:pPr>
            <a:endParaRPr lang="en-US" b="0" i="0">
              <a:solidFill>
                <a:schemeClr val="tx1"/>
              </a:solidFill>
              <a:effectLst/>
              <a:latin typeface="Segoe UI Light" pitchFamily="34" charset="0"/>
            </a:endParaRPr>
          </a:p>
          <a:p>
            <a:pPr marL="107164" lvl="1" indent="0">
              <a:buNone/>
            </a:pPr>
            <a:r>
              <a:rPr lang="en-US" b="1" i="0">
                <a:solidFill>
                  <a:srgbClr val="39404A"/>
                </a:solidFill>
                <a:effectLst/>
                <a:latin typeface="Museo-Sans"/>
              </a:rPr>
              <a:t>Technical (integration) debt </a:t>
            </a:r>
            <a:r>
              <a:rPr lang="en-US" b="0" i="0">
                <a:solidFill>
                  <a:srgbClr val="39404A"/>
                </a:solidFill>
                <a:effectLst/>
                <a:latin typeface="Museo-Sans"/>
              </a:rPr>
              <a:t>is the accumulation of sub-optimal technical decisions made over the lifetime of an application. Eventually, it gets harder and harder to change things: it’s the ‘sand in the gears’ that sees IT initiatives grind to a halt. </a:t>
            </a:r>
            <a:r>
              <a:rPr lang="en-US" b="0" i="0">
                <a:solidFill>
                  <a:srgbClr val="64696C"/>
                </a:solidFill>
                <a:effectLst/>
                <a:latin typeface="Lab Grotesque"/>
              </a:rPr>
              <a:t>Manual release and manual testing lend themselves far too easily to technical-debt workarounds: servers and test machines with one-of-a-kind, handcrafted environment settings, politely ignoring (or turning off) error messages, and special handling of special cases. The process of automating these tasks forces the DevOps implementation team to confront such workarounds, with a choice between incorporating them (and the technical debt that they represent) into the new, automated system, or eliminating them, along with the underlying debt.</a:t>
            </a:r>
            <a:endParaRPr lang="en-US"/>
          </a:p>
          <a:p>
            <a:endParaRPr lang="en-US"/>
          </a:p>
        </p:txBody>
      </p:sp>
      <p:sp>
        <p:nvSpPr>
          <p:cNvPr id="4" name="Date Placeholder 3"/>
          <p:cNvSpPr>
            <a:spLocks noGrp="1"/>
          </p:cNvSpPr>
          <p:nvPr>
            <p:ph type="dt" idx="1"/>
          </p:nvPr>
        </p:nvSpPr>
        <p:spPr/>
        <p:txBody>
          <a:bodyPr/>
          <a:lstStyle/>
          <a:p>
            <a:fld id="{D6C9036F-9E31-414F-95D4-A46EA712E631}" type="datetime1">
              <a:rPr lang="en-US" smtClean="0"/>
              <a:t>2/9/2022</a:t>
            </a:fld>
            <a:endParaRPr lang="en-US"/>
          </a:p>
        </p:txBody>
      </p:sp>
    </p:spTree>
    <p:extLst>
      <p:ext uri="{BB962C8B-B14F-4D97-AF65-F5344CB8AC3E}">
        <p14:creationId xmlns:p14="http://schemas.microsoft.com/office/powerpoint/2010/main" val="1456195359"/>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444444"/>
                </a:solidFill>
                <a:effectLst/>
                <a:latin typeface="Segoe UI" panose="020B0502040204020203" pitchFamily="34" charset="0"/>
              </a:rPr>
              <a:t>The features that Visual Studio Code includes out-of-the-box are just the start. VS Code extensions let you add languages, debuggers, and tools to your installation to support your development workflow. </a:t>
            </a:r>
          </a:p>
          <a:p>
            <a:pPr marL="171450" indent="-171450" algn="l">
              <a:buFont typeface="Arial" panose="020B0604020202020204" pitchFamily="34" charset="0"/>
              <a:buChar char="•"/>
            </a:pPr>
            <a:r>
              <a:rPr lang="en-US" b="0" i="0">
                <a:solidFill>
                  <a:srgbClr val="444444"/>
                </a:solidFill>
                <a:effectLst/>
                <a:latin typeface="Segoe UI" panose="020B0502040204020203" pitchFamily="34" charset="0"/>
              </a:rPr>
              <a:t>Pictures on the side show: </a:t>
            </a:r>
          </a:p>
          <a:p>
            <a:pPr marL="384454" lvl="1" indent="-171450" algn="l">
              <a:buFont typeface="Arial" panose="020B0604020202020204" pitchFamily="34" charset="0"/>
              <a:buChar char="•"/>
            </a:pPr>
            <a:r>
              <a:rPr lang="en-US" b="0" i="0">
                <a:solidFill>
                  <a:srgbClr val="444444"/>
                </a:solidFill>
                <a:effectLst/>
                <a:latin typeface="Segoe UI" panose="020B0502040204020203" pitchFamily="34" charset="0"/>
              </a:rPr>
              <a:t>TODO tree flagging TODO comments</a:t>
            </a:r>
          </a:p>
          <a:p>
            <a:pPr marL="384454" lvl="1" indent="-171450" algn="l">
              <a:buFont typeface="Arial" panose="020B0604020202020204" pitchFamily="34" charset="0"/>
              <a:buChar char="•"/>
            </a:pPr>
            <a:r>
              <a:rPr lang="en-US" b="0" i="0">
                <a:solidFill>
                  <a:srgbClr val="444444"/>
                </a:solidFill>
                <a:effectLst/>
                <a:latin typeface="Segoe UI" panose="020B0502040204020203" pitchFamily="34" charset="0"/>
              </a:rPr>
              <a:t>Bracket pair colorizer and indent rainbow changing the visuals</a:t>
            </a:r>
          </a:p>
          <a:p>
            <a:pPr marL="384454" lvl="1" indent="-171450" algn="l">
              <a:buFont typeface="Arial" panose="020B0604020202020204" pitchFamily="34" charset="0"/>
              <a:buChar char="•"/>
            </a:pPr>
            <a:r>
              <a:rPr lang="en-US" b="0" i="0">
                <a:solidFill>
                  <a:srgbClr val="444444"/>
                </a:solidFill>
                <a:effectLst/>
                <a:latin typeface="Segoe UI" panose="020B0502040204020203" pitchFamily="34" charset="0"/>
              </a:rPr>
              <a:t>Live share session where you can see multiple participants and their cursor locations</a:t>
            </a:r>
          </a:p>
          <a:p>
            <a:pPr marL="384454" lvl="1" indent="-171450" algn="l">
              <a:buFont typeface="Arial" panose="020B0604020202020204" pitchFamily="34" charset="0"/>
              <a:buChar char="•"/>
            </a:pPr>
            <a:r>
              <a:rPr lang="en-US" b="0" i="0">
                <a:solidFill>
                  <a:srgbClr val="444444"/>
                </a:solidFill>
                <a:effectLst/>
                <a:latin typeface="Segoe UI" panose="020B0502040204020203" pitchFamily="34" charset="0"/>
              </a:rPr>
              <a:t>Different themes are displayed for syntax highlighting as well</a:t>
            </a:r>
          </a:p>
          <a:p>
            <a:pPr algn="l"/>
            <a:endParaRPr lang="en-US" b="0" i="0">
              <a:solidFill>
                <a:srgbClr val="444444"/>
              </a:solidFill>
              <a:effectLst/>
              <a:latin typeface="Segoe UI" panose="020B0502040204020203" pitchFamily="34" charset="0"/>
            </a:endParaRPr>
          </a:p>
          <a:p>
            <a:pPr algn="l"/>
            <a:r>
              <a:rPr lang="en-US" b="0" i="0">
                <a:solidFill>
                  <a:srgbClr val="444444"/>
                </a:solidFill>
                <a:effectLst/>
                <a:latin typeface="Segoe UI" panose="020B0502040204020203" pitchFamily="34" charset="0"/>
              </a:rPr>
              <a:t>VS Code extensions can be found from the </a:t>
            </a:r>
            <a:r>
              <a:rPr lang="en-US" b="0" i="0" u="none" strike="noStrike">
                <a:solidFill>
                  <a:srgbClr val="0071BC"/>
                </a:solidFill>
                <a:effectLst/>
                <a:latin typeface="Segoe UI" panose="020B0502040204020203" pitchFamily="34" charset="0"/>
                <a:hlinkClick r:id="rId3"/>
              </a:rPr>
              <a:t>Visual Studio Code Marketplace</a:t>
            </a:r>
            <a:r>
              <a:rPr lang="en-US" b="0" i="0">
                <a:solidFill>
                  <a:srgbClr val="444444"/>
                </a:solidFill>
                <a:effectLst/>
                <a:latin typeface="Segoe UI" panose="020B0502040204020203" pitchFamily="34" charset="0"/>
              </a:rPr>
              <a:t>.</a:t>
            </a:r>
          </a:p>
        </p:txBody>
      </p:sp>
      <p:sp>
        <p:nvSpPr>
          <p:cNvPr id="4" name="Date Placeholder 3"/>
          <p:cNvSpPr>
            <a:spLocks noGrp="1"/>
          </p:cNvSpPr>
          <p:nvPr>
            <p:ph type="dt" idx="1"/>
          </p:nvPr>
        </p:nvSpPr>
        <p:spPr/>
        <p:txBody>
          <a:bodyPr/>
          <a:lstStyle/>
          <a:p>
            <a:fld id="{00D38E3F-280C-424E-A375-D9A18A12F38B}" type="datetime1">
              <a:rPr lang="en-US" smtClean="0"/>
              <a:t>2/9/2022</a:t>
            </a:fld>
            <a:endParaRPr lang="en-US"/>
          </a:p>
        </p:txBody>
      </p:sp>
    </p:spTree>
    <p:extLst>
      <p:ext uri="{BB962C8B-B14F-4D97-AF65-F5344CB8AC3E}">
        <p14:creationId xmlns:p14="http://schemas.microsoft.com/office/powerpoint/2010/main" val="1374647946"/>
      </p:ext>
    </p:extLst>
  </p:cSld>
  <p:clrMapOvr>
    <a:masterClrMapping/>
  </p:clrMapOvr>
</p:notes>
</file>

<file path=ppt/notesSlides/notesSlide4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80454237"/>
      </p:ext>
    </p:extLst>
  </p:cSld>
  <p:clrMapOvr>
    <a:masterClrMapping/>
  </p:clrMapOvr>
</p:notes>
</file>

<file path=ppt/notesSlides/notesSlide4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a:pPr/>
              <a:t>45</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a:t>2/9/2022 1:53 P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85A6A68-AA23-480E-B354-BD69A8FFBCEB}" type="datetime1">
              <a:rPr lang="en-US"/>
              <a:t>2/9/2022</a:t>
            </a:fld>
            <a:endParaRPr lang="en-US"/>
          </a:p>
        </p:txBody>
      </p:sp>
    </p:spTree>
    <p:extLst>
      <p:ext uri="{BB962C8B-B14F-4D97-AF65-F5344CB8AC3E}">
        <p14:creationId xmlns:p14="http://schemas.microsoft.com/office/powerpoint/2010/main" val="632214469"/>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a:solidFill>
                  <a:schemeClr val="tx1"/>
                </a:solidFill>
                <a:effectLst/>
                <a:latin typeface="Segoe UI Light" pitchFamily="34" charset="0"/>
                <a:ea typeface="+mn-ea"/>
                <a:cs typeface="+mn-cs"/>
              </a:rPr>
              <a:t>Source: </a:t>
            </a:r>
            <a:r>
              <a:rPr lang="en-US">
                <a:hlinkClick r:id="rId3"/>
              </a:rPr>
              <a:t>https://git-scm.com/</a:t>
            </a:r>
            <a:endParaRPr lang="en-US"/>
          </a:p>
          <a:p>
            <a:r>
              <a:rPr lang="en-US" sz="1000" b="0" i="0" kern="1200">
                <a:solidFill>
                  <a:schemeClr val="tx1"/>
                </a:solidFill>
                <a:effectLst/>
                <a:latin typeface="Segoe UI Light" pitchFamily="34" charset="0"/>
                <a:ea typeface="+mn-ea"/>
                <a:cs typeface="+mn-cs"/>
              </a:rPr>
              <a:t>Git is a free and open source distributed version control system designed to handle everything from small to very large projects with speed and efficiency.</a:t>
            </a:r>
          </a:p>
          <a:p>
            <a:r>
              <a:rPr lang="en-US" sz="1000" b="0" i="0" kern="1200">
                <a:solidFill>
                  <a:schemeClr val="tx1"/>
                </a:solidFill>
                <a:effectLst/>
                <a:latin typeface="Segoe UI Light" pitchFamily="34" charset="0"/>
                <a:ea typeface="+mn-ea"/>
                <a:cs typeface="+mn-cs"/>
              </a:rPr>
              <a:t>Git is easy to learn and has a tiny footprint with lightning fast performance. It outclasses SCM tools like Subversion, CVS, Perforce, and ClearCase with features like cheap local branching, convenient staging areas, and multiple workflows.</a:t>
            </a:r>
          </a:p>
          <a:p>
            <a:endParaRPr lang="en-US" sz="1000" b="0" i="0" kern="1200">
              <a:solidFill>
                <a:schemeClr val="tx1"/>
              </a:solidFill>
              <a:effectLst/>
              <a:latin typeface="Segoe UI Light" pitchFamily="34" charset="0"/>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a:cs typeface="Segoe UI"/>
              </a:rPr>
              <a:t>Created in 2005 by Linus Torvalds</a:t>
            </a:r>
          </a:p>
          <a:p>
            <a:endParaRPr lang="en-US" sz="1000" b="0" i="0" kern="1200">
              <a:solidFill>
                <a:schemeClr val="tx1"/>
              </a:solidFill>
              <a:effectLst/>
              <a:latin typeface="Segoe UI Light" pitchFamily="34" charset="0"/>
              <a:ea typeface="+mn-ea"/>
              <a:cs typeface="+mn-cs"/>
            </a:endParaRPr>
          </a:p>
        </p:txBody>
      </p:sp>
      <p:sp>
        <p:nvSpPr>
          <p:cNvPr id="4" name="Date Placeholder 3"/>
          <p:cNvSpPr>
            <a:spLocks noGrp="1"/>
          </p:cNvSpPr>
          <p:nvPr>
            <p:ph type="dt" idx="1"/>
          </p:nvPr>
        </p:nvSpPr>
        <p:spPr/>
        <p:txBody>
          <a:bodyPr/>
          <a:lstStyle/>
          <a:p>
            <a:fld id="{8A350F89-E12F-4E6A-B42A-11241798BFE5}" type="datetime1">
              <a:rPr lang="en-US"/>
              <a:t>2/9/2022</a:t>
            </a:fld>
            <a:endParaRPr lang="en-US"/>
          </a:p>
        </p:txBody>
      </p:sp>
    </p:spTree>
    <p:extLst>
      <p:ext uri="{BB962C8B-B14F-4D97-AF65-F5344CB8AC3E}">
        <p14:creationId xmlns:p14="http://schemas.microsoft.com/office/powerpoint/2010/main" val="4243934792"/>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ny other Git repositories exist but GitHub is one of the most popular.</a:t>
            </a:r>
          </a:p>
          <a:p>
            <a:r>
              <a:rPr lang="en-US"/>
              <a:t>Others include:</a:t>
            </a:r>
          </a:p>
          <a:p>
            <a:pPr marL="171450" indent="-171450">
              <a:buFont typeface="Arial" panose="020B0604020202020204" pitchFamily="34" charset="0"/>
              <a:buChar char="•"/>
            </a:pPr>
            <a:r>
              <a:rPr lang="en-US"/>
              <a:t>Bit bucket</a:t>
            </a:r>
          </a:p>
          <a:p>
            <a:pPr marL="171450" indent="-171450">
              <a:buFont typeface="Arial" panose="020B0604020202020204" pitchFamily="34" charset="0"/>
              <a:buChar char="•"/>
            </a:pPr>
            <a:r>
              <a:rPr lang="en-US"/>
              <a:t>Git lab</a:t>
            </a:r>
          </a:p>
          <a:p>
            <a:pPr marL="171450" indent="-171450">
              <a:buFont typeface="Arial" panose="020B0604020202020204" pitchFamily="34" charset="0"/>
              <a:buChar char="•"/>
            </a:pPr>
            <a:r>
              <a:rPr lang="en-US"/>
              <a:t>Azure DevOps services/server</a:t>
            </a:r>
          </a:p>
        </p:txBody>
      </p:sp>
      <p:sp>
        <p:nvSpPr>
          <p:cNvPr id="4" name="Date Placeholder 3"/>
          <p:cNvSpPr>
            <a:spLocks noGrp="1"/>
          </p:cNvSpPr>
          <p:nvPr>
            <p:ph type="dt" idx="1"/>
          </p:nvPr>
        </p:nvSpPr>
        <p:spPr/>
        <p:txBody>
          <a:bodyPr/>
          <a:lstStyle/>
          <a:p>
            <a:fld id="{4D600CF0-F7F9-440D-8B50-E1EB6120F8BA}" type="datetime1">
              <a:rPr lang="en-US"/>
              <a:t>2/9/2022</a:t>
            </a:fld>
            <a:endParaRPr lang="en-US"/>
          </a:p>
        </p:txBody>
      </p:sp>
    </p:spTree>
    <p:extLst>
      <p:ext uri="{BB962C8B-B14F-4D97-AF65-F5344CB8AC3E}">
        <p14:creationId xmlns:p14="http://schemas.microsoft.com/office/powerpoint/2010/main" val="1235148926"/>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8</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2/9/2022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3318039558"/>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epository holds all the files and tracks their change history</a:t>
            </a:r>
          </a:p>
          <a:p>
            <a:endParaRPr lang="en-US"/>
          </a:p>
          <a:p>
            <a:r>
              <a:rPr lang="en-US"/>
              <a:t>Stage area is where you put files you want to save changes for once you’re happy</a:t>
            </a:r>
          </a:p>
          <a:p>
            <a:endParaRPr lang="en-US"/>
          </a:p>
          <a:p>
            <a:r>
              <a:rPr lang="en-US"/>
              <a:t>Committing saves a snapshot of all your changes and can be *tracked* in the repository </a:t>
            </a:r>
          </a:p>
        </p:txBody>
      </p:sp>
      <p:sp>
        <p:nvSpPr>
          <p:cNvPr id="4" name="Date Placeholder 3"/>
          <p:cNvSpPr>
            <a:spLocks noGrp="1"/>
          </p:cNvSpPr>
          <p:nvPr>
            <p:ph type="dt" idx="1"/>
          </p:nvPr>
        </p:nvSpPr>
        <p:spPr/>
        <p:txBody>
          <a:bodyPr/>
          <a:lstStyle/>
          <a:p>
            <a:fld id="{34E2CFCE-6F93-4872-B19A-E0BC5F8626BB}" type="datetime1">
              <a:rPr lang="en-US"/>
              <a:t>2/9/2022</a:t>
            </a:fld>
            <a:endParaRPr lang="en-US"/>
          </a:p>
        </p:txBody>
      </p:sp>
    </p:spTree>
    <p:extLst>
      <p:ext uri="{BB962C8B-B14F-4D97-AF65-F5344CB8AC3E}">
        <p14:creationId xmlns:p14="http://schemas.microsoft.com/office/powerpoint/2010/main" val="1263744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38775558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288830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874197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984062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362245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945053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17335749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5865393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24097334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06256139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4519513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337184981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090731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79063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30847378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246245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4462351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4717463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2909694"/>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8590811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999344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0118299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6692412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8097092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438367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274972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66184627"/>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1744639"/>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855605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5046031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3723974"/>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0036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647045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58601578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90404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69162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007021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91718034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7534465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349230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2242805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8836460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1555808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8746101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7317929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65279;<?xml version="1.0" encoding="utf-8"?><Relationships xmlns="http://schemas.openxmlformats.org/package/2006/relationships"><Relationship Type="http://schemas.openxmlformats.org/officeDocument/2006/relationships/diagramQuickStyle" Target="../diagrams/quickStyle7.xml" Id="rId8" /><Relationship Type="http://schemas.openxmlformats.org/officeDocument/2006/relationships/slideLayout" Target="../slideLayouts/slideLayout8.xml" Id="rId3" /><Relationship Type="http://schemas.openxmlformats.org/officeDocument/2006/relationships/diagramLayout" Target="../diagrams/layout7.xml" Id="rId7" /><Relationship Type="http://schemas.openxmlformats.org/officeDocument/2006/relationships/tags" Target="../tags/tag16.xml" Id="rId2" /><Relationship Type="http://schemas.openxmlformats.org/officeDocument/2006/relationships/tags" Target="../tags/tag15.xml" Id="rId1" /><Relationship Type="http://schemas.openxmlformats.org/officeDocument/2006/relationships/diagramData" Target="../diagrams/data7.xml" Id="rId6" /><Relationship Type="http://schemas.openxmlformats.org/officeDocument/2006/relationships/image" Target="../media/image38.png" Id="rId11" /><Relationship Type="http://schemas.microsoft.com/office/2007/relationships/diagramDrawing" Target="../diagrams/drawing7.xml" Id="rId10" /><Relationship Type="http://schemas.openxmlformats.org/officeDocument/2006/relationships/notesSlide" Target="../notesSlides/notesSlide10.xml" Id="rId4" /><Relationship Type="http://schemas.openxmlformats.org/officeDocument/2006/relationships/diagramColors" Target="../diagrams/colors7.xml" Id="rId9" /></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13" Type="http://schemas.microsoft.com/office/2007/relationships/diagramDrawing" Target="../diagrams/drawing9.xml"/><Relationship Id="rId3" Type="http://schemas.openxmlformats.org/officeDocument/2006/relationships/notesSlide" Target="../notesSlides/notesSlide11.xml"/><Relationship Id="rId7" Type="http://schemas.openxmlformats.org/officeDocument/2006/relationships/diagramColors" Target="../diagrams/colors8.xml"/><Relationship Id="rId12" Type="http://schemas.openxmlformats.org/officeDocument/2006/relationships/diagramColors" Target="../diagrams/colors9.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diagramQuickStyle" Target="../diagrams/quickStyle8.xml"/><Relationship Id="rId11" Type="http://schemas.openxmlformats.org/officeDocument/2006/relationships/diagramQuickStyle" Target="../diagrams/quickStyle9.xml"/><Relationship Id="rId5" Type="http://schemas.openxmlformats.org/officeDocument/2006/relationships/diagramLayout" Target="../diagrams/layout8.xml"/><Relationship Id="rId10" Type="http://schemas.openxmlformats.org/officeDocument/2006/relationships/diagramLayout" Target="../diagrams/layout9.xml"/><Relationship Id="rId4" Type="http://schemas.openxmlformats.org/officeDocument/2006/relationships/diagramData" Target="../diagrams/data8.xml"/><Relationship Id="rId9" Type="http://schemas.openxmlformats.org/officeDocument/2006/relationships/diagramData" Target="../diagrams/data9.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slideLayout" Target="../slideLayouts/slideLayout8.xml"/><Relationship Id="rId7" Type="http://schemas.openxmlformats.org/officeDocument/2006/relationships/diagramQuickStyle" Target="../diagrams/quickStyle1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notesSlide" Target="../notesSlides/notesSlide12.xml"/><Relationship Id="rId9" Type="http://schemas.microsoft.com/office/2007/relationships/diagramDrawing" Target="../diagrams/drawing10.xml"/></Relationships>
</file>

<file path=ppt/slides/_rels/slide13.xml.rels>&#65279;<?xml version="1.0" encoding="utf-8"?><Relationships xmlns="http://schemas.openxmlformats.org/package/2006/relationships"><Relationship Type="http://schemas.openxmlformats.org/officeDocument/2006/relationships/slideLayout" Target="../slideLayouts/slideLayout8.xml" Id="rId3" /><Relationship Type="http://schemas.openxmlformats.org/officeDocument/2006/relationships/tags" Target="../tags/tag21.xml" Id="rId2" /><Relationship Type="http://schemas.openxmlformats.org/officeDocument/2006/relationships/tags" Target="../tags/tag20.xml" Id="rId1" /></Relationships>
</file>

<file path=ppt/slides/_rels/slide14.xml.rels>&#65279;<?xml version="1.0" encoding="utf-8"?><Relationships xmlns="http://schemas.openxmlformats.org/package/2006/relationships"><Relationship Type="http://schemas.openxmlformats.org/officeDocument/2006/relationships/diagramColors" Target="../diagrams/colors11.xml" Id="rId8" /><Relationship Type="http://schemas.openxmlformats.org/officeDocument/2006/relationships/notesSlide" Target="../notesSlides/notesSlide13.xml" Id="rId3" /><Relationship Type="http://schemas.openxmlformats.org/officeDocument/2006/relationships/diagramQuickStyle" Target="../diagrams/quickStyle11.xml" Id="rId7" /><Relationship Type="http://schemas.openxmlformats.org/officeDocument/2006/relationships/slideLayout" Target="../slideLayouts/slideLayout36.xml" Id="rId2" /><Relationship Type="http://schemas.openxmlformats.org/officeDocument/2006/relationships/tags" Target="../tags/tag22.xml" Id="rId1" /><Relationship Type="http://schemas.openxmlformats.org/officeDocument/2006/relationships/diagramLayout" Target="../diagrams/layout11.xml" Id="rId6" /><Relationship Type="http://schemas.openxmlformats.org/officeDocument/2006/relationships/diagramData" Target="../diagrams/data11.xml" Id="rId5" /><Relationship Type="http://schemas.microsoft.com/office/2007/relationships/diagramDrawing" Target="../diagrams/drawing11.xml" Id="rId9" /></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7.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47.gif"/><Relationship Id="rId7" Type="http://schemas.openxmlformats.org/officeDocument/2006/relationships/diagramColors" Target="../diagrams/colors13.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0.xml"/></Relationships>
</file>

<file path=ppt/slides/_rels/slide22.xml.rels>&#65279;<?xml version="1.0" encoding="utf-8"?><Relationships xmlns="http://schemas.openxmlformats.org/package/2006/relationships"><Relationship Type="http://schemas.openxmlformats.org/officeDocument/2006/relationships/diagramColors" Target="../diagrams/colors14.xml" Id="rId8" /><Relationship Type="http://schemas.openxmlformats.org/officeDocument/2006/relationships/notesSlide" Target="../notesSlides/notesSlide20.xml" Id="rId3" /><Relationship Type="http://schemas.openxmlformats.org/officeDocument/2006/relationships/diagramQuickStyle" Target="../diagrams/quickStyle14.xml" Id="rId7" /><Relationship Type="http://schemas.openxmlformats.org/officeDocument/2006/relationships/slideLayout" Target="../slideLayouts/slideLayout8.xml" Id="rId2" /><Relationship Type="http://schemas.openxmlformats.org/officeDocument/2006/relationships/tags" Target="../tags/tag31.xml" Id="rId1" /><Relationship Type="http://schemas.openxmlformats.org/officeDocument/2006/relationships/diagramLayout" Target="../diagrams/layout14.xml" Id="rId6" /><Relationship Type="http://schemas.openxmlformats.org/officeDocument/2006/relationships/diagramData" Target="../diagrams/data14.xml" Id="rId5" /><Relationship Type="http://schemas.microsoft.com/office/2007/relationships/diagramDrawing" Target="../diagrams/drawing14.xml" Id="rId9" /></Relationships>
</file>

<file path=ppt/slides/_rels/slide23.xml.rels><?xml version="1.0" encoding="UTF-8" standalone="yes"?>
<Relationships xmlns="http://schemas.openxmlformats.org/package/2006/relationships"><Relationship Id="rId8" Type="http://schemas.microsoft.com/office/2007/relationships/diagramDrawing" Target="../diagrams/drawing15.xml"/><Relationship Id="rId13" Type="http://schemas.microsoft.com/office/2007/relationships/diagramDrawing" Target="../diagrams/drawing16.xml"/><Relationship Id="rId3" Type="http://schemas.openxmlformats.org/officeDocument/2006/relationships/notesSlide" Target="../notesSlides/notesSlide21.xml"/><Relationship Id="rId7" Type="http://schemas.openxmlformats.org/officeDocument/2006/relationships/diagramColors" Target="../diagrams/colors15.xml"/><Relationship Id="rId12" Type="http://schemas.openxmlformats.org/officeDocument/2006/relationships/diagramColors" Target="../diagrams/colors16.xml"/><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diagramQuickStyle" Target="../diagrams/quickStyle15.xml"/><Relationship Id="rId11" Type="http://schemas.openxmlformats.org/officeDocument/2006/relationships/diagramQuickStyle" Target="../diagrams/quickStyle16.xml"/><Relationship Id="rId5" Type="http://schemas.openxmlformats.org/officeDocument/2006/relationships/diagramLayout" Target="../diagrams/layout15.xml"/><Relationship Id="rId10" Type="http://schemas.openxmlformats.org/officeDocument/2006/relationships/diagramLayout" Target="../diagrams/layout16.xml"/><Relationship Id="rId4" Type="http://schemas.openxmlformats.org/officeDocument/2006/relationships/diagramData" Target="../diagrams/data15.xml"/><Relationship Id="rId9" Type="http://schemas.openxmlformats.org/officeDocument/2006/relationships/diagramData" Target="../diagrams/data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23.xml"/></Relationships>
</file>

<file path=ppt/slides/_rels/slide26.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38.xml" Id="rId2" /><Relationship Type="http://schemas.openxmlformats.org/officeDocument/2006/relationships/tags" Target="../tags/tag37.xml" Id="rId1" /><Relationship Type="http://schemas.openxmlformats.org/officeDocument/2006/relationships/notesSlide" Target="../notesSlides/notesSlide24.xml" Id="rId4" /></Relationships>
</file>

<file path=ppt/slides/_rels/slide27.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59.png"/><Relationship Id="rId7" Type="http://schemas.openxmlformats.org/officeDocument/2006/relationships/diagramColors" Target="../diagrams/colors17.xml"/><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 Id="rId9" Type="http://schemas.openxmlformats.org/officeDocument/2006/relationships/image" Target="../media/image60.png"/></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slideLayout" Target="../slideLayouts/slideLayout8.xml"/><Relationship Id="rId7" Type="http://schemas.openxmlformats.org/officeDocument/2006/relationships/diagramQuickStyle" Target="../diagrams/quickStyle18.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notesSlide" Target="../notesSlides/notesSlide26.xml"/><Relationship Id="rId9" Type="http://schemas.microsoft.com/office/2007/relationships/diagramDrawing" Target="../diagrams/drawing1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41.xml"/><Relationship Id="rId4" Type="http://schemas.openxmlformats.org/officeDocument/2006/relationships/image" Target="../media/image6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31.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29.xml"/><Relationship Id="rId7" Type="http://schemas.openxmlformats.org/officeDocument/2006/relationships/diagramColors" Target="../diagrams/colors19.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32.xml.rels>&#65279;<?xml version="1.0" encoding="utf-8"?><Relationships xmlns="http://schemas.openxmlformats.org/package/2006/relationships"><Relationship Type="http://schemas.openxmlformats.org/officeDocument/2006/relationships/diagramColors" Target="../diagrams/colors20.xml" Id="rId8" /><Relationship Type="http://schemas.openxmlformats.org/officeDocument/2006/relationships/notesSlide" Target="../notesSlides/notesSlide30.xml" Id="rId3" /><Relationship Type="http://schemas.openxmlformats.org/officeDocument/2006/relationships/diagramQuickStyle" Target="../diagrams/quickStyle20.xml" Id="rId7" /><Relationship Type="http://schemas.openxmlformats.org/officeDocument/2006/relationships/slideLayout" Target="../slideLayouts/slideLayout8.xml" Id="rId2" /><Relationship Type="http://schemas.openxmlformats.org/officeDocument/2006/relationships/tags" Target="../tags/tag44.xml" Id="rId1" /><Relationship Type="http://schemas.openxmlformats.org/officeDocument/2006/relationships/diagramLayout" Target="../diagrams/layout20.xml" Id="rId6" /><Relationship Type="http://schemas.openxmlformats.org/officeDocument/2006/relationships/diagramData" Target="../diagrams/data20.xml" Id="rId5" /><Relationship Type="http://schemas.microsoft.com/office/2007/relationships/diagramDrawing" Target="../diagrams/drawing20.xml" Id="rId9" /></Relationships>
</file>

<file path=ppt/slides/_rels/slide33.xml.rels>&#65279;<?xml version="1.0" encoding="utf-8"?><Relationships xmlns="http://schemas.openxmlformats.org/package/2006/relationships"><Relationship Type="http://schemas.openxmlformats.org/officeDocument/2006/relationships/diagramColors" Target="../diagrams/colors21.xml" Id="rId8" /><Relationship Type="http://schemas.openxmlformats.org/officeDocument/2006/relationships/notesSlide" Target="../notesSlides/notesSlide31.xml" Id="rId3" /><Relationship Type="http://schemas.openxmlformats.org/officeDocument/2006/relationships/diagramQuickStyle" Target="../diagrams/quickStyle21.xml" Id="rId7" /><Relationship Type="http://schemas.openxmlformats.org/officeDocument/2006/relationships/slideLayout" Target="../slideLayouts/slideLayout8.xml" Id="rId2" /><Relationship Type="http://schemas.openxmlformats.org/officeDocument/2006/relationships/tags" Target="../tags/tag45.xml" Id="rId1" /><Relationship Type="http://schemas.openxmlformats.org/officeDocument/2006/relationships/diagramLayout" Target="../diagrams/layout21.xml" Id="rId6" /><Relationship Type="http://schemas.openxmlformats.org/officeDocument/2006/relationships/diagramData" Target="../diagrams/data21.xml" Id="rId5" /><Relationship Type="http://schemas.microsoft.com/office/2007/relationships/diagramDrawing" Target="../diagrams/drawing21.xml" Id="rId9" /></Relationships>
</file>

<file path=ppt/slides/_rels/slide34.xml.rels>&#65279;<?xml version="1.0" encoding="utf-8"?><Relationships xmlns="http://schemas.openxmlformats.org/package/2006/relationships"><Relationship Type="http://schemas.openxmlformats.org/officeDocument/2006/relationships/notesSlide" Target="../notesSlides/notesSlide32.xml" Id="rId3" /><Relationship Type="http://schemas.openxmlformats.org/officeDocument/2006/relationships/slideLayout" Target="../slideLayouts/slideLayout14.xml" Id="rId2" /><Relationship Type="http://schemas.openxmlformats.org/officeDocument/2006/relationships/tags" Target="../tags/tag46.xml" Id="rId1" /></Relationships>
</file>

<file path=ppt/slides/_rels/slide35.xml.rels>&#65279;<?xml version="1.0" encoding="utf-8"?><Relationships xmlns="http://schemas.openxmlformats.org/package/2006/relationships"><Relationship Type="http://schemas.openxmlformats.org/officeDocument/2006/relationships/notesSlide" Target="../notesSlides/notesSlide33.xml" Id="rId3" /><Relationship Type="http://schemas.openxmlformats.org/officeDocument/2006/relationships/slideLayout" Target="../slideLayouts/slideLayout14.xml" Id="rId2" /><Relationship Type="http://schemas.openxmlformats.org/officeDocument/2006/relationships/tags" Target="../tags/tag47.xml" Id="rId1" /><Relationship Type="http://schemas.openxmlformats.org/officeDocument/2006/relationships/image" Target="../media/image99.svg" Id="rId6" /><Relationship Type="http://schemas.openxmlformats.org/officeDocument/2006/relationships/image" Target="../media/image98.png" Id="rId5" /></Relationships>
</file>

<file path=ppt/slides/_rels/slide36.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image" Target="../media/image100.png"/><Relationship Id="rId7" Type="http://schemas.openxmlformats.org/officeDocument/2006/relationships/diagramColors" Target="../diagrams/colors22.xml"/><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37.xml.rels>&#65279;<?xml version="1.0" encoding="utf-8"?><Relationships xmlns="http://schemas.openxmlformats.org/package/2006/relationships"><Relationship Type="http://schemas.openxmlformats.org/officeDocument/2006/relationships/diagramColors" Target="../diagrams/colors23.xml" Id="rId8" /><Relationship Type="http://schemas.openxmlformats.org/officeDocument/2006/relationships/notesSlide" Target="../notesSlides/notesSlide35.xml" Id="rId3" /><Relationship Type="http://schemas.openxmlformats.org/officeDocument/2006/relationships/diagramQuickStyle" Target="../diagrams/quickStyle23.xml" Id="rId7" /><Relationship Type="http://schemas.openxmlformats.org/officeDocument/2006/relationships/slideLayout" Target="../slideLayouts/slideLayout8.xml" Id="rId2" /><Relationship Type="http://schemas.openxmlformats.org/officeDocument/2006/relationships/tags" Target="../tags/tag48.xml" Id="rId1" /><Relationship Type="http://schemas.openxmlformats.org/officeDocument/2006/relationships/diagramLayout" Target="../diagrams/layout23.xml" Id="rId6" /><Relationship Type="http://schemas.openxmlformats.org/officeDocument/2006/relationships/diagramData" Target="../diagrams/data23.xml" Id="rId5" /><Relationship Type="http://schemas.microsoft.com/office/2007/relationships/diagramDrawing" Target="../diagrams/drawing23.xml" Id="rId9" /></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49.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xml"/><Relationship Id="rId1" Type="http://schemas.openxmlformats.org/officeDocument/2006/relationships/tags" Target="../tags/tag50.xml"/><Relationship Id="rId4" Type="http://schemas.openxmlformats.org/officeDocument/2006/relationships/image" Target="../media/image10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4.xml"/><Relationship Id="rId1" Type="http://schemas.openxmlformats.org/officeDocument/2006/relationships/tags" Target="../tags/tag51.xml"/><Relationship Id="rId5" Type="http://schemas.openxmlformats.org/officeDocument/2006/relationships/image" Target="../media/image103.png"/><Relationship Id="rId4" Type="http://schemas.openxmlformats.org/officeDocument/2006/relationships/image" Target="../media/image102.png"/></Relationships>
</file>

<file path=ppt/slides/_rels/slide4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diagramColors" Target="../diagrams/colors25.xml"/><Relationship Id="rId5" Type="http://schemas.openxmlformats.org/officeDocument/2006/relationships/diagramQuickStyle" Target="../diagrams/quickStyle25.xml"/><Relationship Id="rId10" Type="http://schemas.openxmlformats.org/officeDocument/2006/relationships/image" Target="../media/image106.png"/><Relationship Id="rId4" Type="http://schemas.openxmlformats.org/officeDocument/2006/relationships/diagramLayout" Target="../diagrams/layout25.xml"/><Relationship Id="rId9" Type="http://schemas.openxmlformats.org/officeDocument/2006/relationships/image" Target="../media/image105.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50.png"/><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3.xml"/><Relationship Id="rId1" Type="http://schemas.openxmlformats.org/officeDocument/2006/relationships/tags" Target="../tags/tag56.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3" Type="http://schemas.openxmlformats.org/officeDocument/2006/relationships/notesSlide" Target="../notesSlides/notesSlide5.xml"/><Relationship Id="rId7" Type="http://schemas.openxmlformats.org/officeDocument/2006/relationships/diagramColors" Target="../diagrams/colors2.xml"/><Relationship Id="rId12" Type="http://schemas.openxmlformats.org/officeDocument/2006/relationships/diagramColors" Target="../diagrams/colors3.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s>
</file>

<file path=ppt/slides/_rels/slide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6.xml"/><Relationship Id="rId7" Type="http://schemas.openxmlformats.org/officeDocument/2006/relationships/diagramColors" Target="../diagrams/colors4.xm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7.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9.xml"/><Relationship Id="rId7" Type="http://schemas.openxmlformats.org/officeDocument/2006/relationships/diagramColors" Target="../diagrams/colors6.xml"/><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slide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Git</a:t>
            </a:r>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dgm="http://schemas.openxmlformats.org/drawingml/2006/diagram"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49840B-89BE-4CBD-A9FE-20925D610AB6}"/>
              </a:ext>
            </a:extLst>
          </p:cNvPr>
          <p:cNvSpPr>
            <a:spLocks noGrp="1"/>
          </p:cNvSpPr>
          <p:nvPr>
            <p:ph type="title"/>
          </p:nvPr>
        </p:nvSpPr>
        <p:spPr/>
        <p:txBody>
          <a:bodyPr/>
          <a:lstStyle/>
          <a:p>
            <a:r>
              <a:rPr lang="en-US">
                <a:cs typeface="Segoe UI"/>
              </a:rPr>
              <a:t>Create Repository</a:t>
            </a:r>
            <a:endParaRPr lang="en-US"/>
          </a:p>
        </p:txBody>
      </p:sp>
      <p:sp>
        <p:nvSpPr>
          <p:cNvPr id="2" name="Text Placeholder 1">
            <a:extLst>
              <a:ext uri="{FF2B5EF4-FFF2-40B4-BE49-F238E27FC236}">
                <a16:creationId xmlns:a16="http://schemas.microsoft.com/office/drawing/2014/main" id="{98035AD3-7E39-4EED-8849-565DFE5D2B03}"/>
              </a:ext>
            </a:extLst>
          </p:cNvPr>
          <p:cNvSpPr>
            <a:spLocks noGrp="1"/>
          </p:cNvSpPr>
          <p:nvPr>
            <p:ph sz="quarter" idx="13"/>
          </p:nvPr>
        </p:nvSpPr>
        <p:spPr>
          <a:xfrm>
            <a:off x="655638" y="4447331"/>
            <a:ext cx="10880726" cy="461665"/>
          </a:xfrm>
        </p:spPr>
        <p:txBody>
          <a:bodyPr vert="horz" lIns="0" tIns="0" rIns="0" bIns="0" rtlCol="0" anchor="t">
            <a:normAutofit/>
          </a:bodyPr>
          <a:lstStyle/>
          <a:p>
            <a:pPr marL="0" indent="0">
              <a:buNone/>
            </a:pPr>
            <a:r>
              <a:rPr lang="en-US" b="1">
                <a:cs typeface="Segoe UI"/>
              </a:rPr>
              <a:t>Create New</a:t>
            </a:r>
            <a:r>
              <a:rPr lang="en-US">
                <a:cs typeface="Segoe UI"/>
              </a:rPr>
              <a:t> – </a:t>
            </a:r>
            <a:r>
              <a:rPr lang="en-US" i="1">
                <a:cs typeface="Segoe UI"/>
              </a:rPr>
              <a:t>git </a:t>
            </a:r>
            <a:r>
              <a:rPr lang="en-US" i="1" err="1">
                <a:cs typeface="Segoe UI"/>
              </a:rPr>
              <a:t>init</a:t>
            </a:r>
            <a:r>
              <a:rPr lang="en-US" i="1">
                <a:cs typeface="Segoe UI"/>
              </a:rPr>
              <a:t> &lt;</a:t>
            </a:r>
            <a:r>
              <a:rPr lang="en-US" i="1" err="1">
                <a:cs typeface="Segoe UI"/>
              </a:rPr>
              <a:t>RepositoryName</a:t>
            </a:r>
            <a:r>
              <a:rPr lang="en-US" i="1">
                <a:cs typeface="Segoe UI"/>
              </a:rPr>
              <a:t>&gt;</a:t>
            </a:r>
          </a:p>
          <a:p>
            <a:pPr marL="0" indent="0">
              <a:buNone/>
            </a:pPr>
            <a:endParaRPr lang="en-US" i="1"/>
          </a:p>
        </p:txBody>
      </p:sp>
      <p:sp>
        <p:nvSpPr>
          <p:cNvPr id="7" name="Code Box">
            <a:extLst>
              <a:ext uri="{FF2B5EF4-FFF2-40B4-BE49-F238E27FC236}">
                <a16:creationId xmlns:a16="http://schemas.microsoft.com/office/drawing/2014/main" id="{2CA59A90-F19B-4DE1-B546-663DBE03B173}"/>
              </a:ext>
            </a:extLst>
          </p:cNvPr>
          <p:cNvSpPr/>
          <p:nvPr>
            <p:custDataLst>
              <p:tags r:id="rId2"/>
            </p:custDataLst>
          </p:nvPr>
        </p:nvSpPr>
        <p:spPr>
          <a:xfrm>
            <a:off x="655638" y="4896005"/>
            <a:ext cx="10880725" cy="769899"/>
          </a:xfrm>
          <a:prstGeom prst="rect">
            <a:avLst/>
          </a:prstGeom>
          <a:solidFill>
            <a:srgbClr val="012456"/>
          </a:solidFill>
        </p:spPr>
        <p:txBody>
          <a:bodyPr wrap="square" anchor="t">
            <a:noAutofit/>
          </a:bodyPr>
          <a:lstStyle/>
          <a:p>
            <a:r>
              <a:rPr lang="en-AU" sz="2000">
                <a:solidFill>
                  <a:schemeClr val="lt1"/>
                </a:solidFill>
                <a:latin typeface="Lucida Console"/>
              </a:rPr>
              <a:t>PS c:\&gt; </a:t>
            </a:r>
            <a:r>
              <a:rPr lang="en-AU" sz="2000">
                <a:solidFill>
                  <a:srgbClr val="FEF000"/>
                </a:solidFill>
                <a:latin typeface="Lucida Console"/>
              </a:rPr>
              <a:t>git</a:t>
            </a:r>
            <a:r>
              <a:rPr lang="en-AU" sz="2000">
                <a:solidFill>
                  <a:schemeClr val="lt1"/>
                </a:solidFill>
                <a:latin typeface="Lucida Console"/>
              </a:rPr>
              <a:t> </a:t>
            </a:r>
            <a:r>
              <a:rPr lang="en-AU" sz="2000" err="1">
                <a:solidFill>
                  <a:schemeClr val="lt1"/>
                </a:solidFill>
                <a:latin typeface="Lucida Console"/>
              </a:rPr>
              <a:t>init</a:t>
            </a:r>
            <a:r>
              <a:rPr lang="en-AU" sz="2000">
                <a:solidFill>
                  <a:schemeClr val="lt1"/>
                </a:solidFill>
                <a:latin typeface="Lucida Console"/>
              </a:rPr>
              <a:t> </a:t>
            </a:r>
            <a:r>
              <a:rPr lang="en-AU" sz="2000" err="1">
                <a:solidFill>
                  <a:schemeClr val="lt1"/>
                </a:solidFill>
                <a:latin typeface="Lucida Console"/>
              </a:rPr>
              <a:t>MyNewRepository</a:t>
            </a:r>
            <a:endParaRPr lang="en-AU" sz="2000">
              <a:solidFill>
                <a:schemeClr val="lt1"/>
              </a:solidFill>
              <a:latin typeface="Lucida Console"/>
            </a:endParaRPr>
          </a:p>
          <a:p>
            <a:r>
              <a:rPr lang="en-AU" sz="2000">
                <a:solidFill>
                  <a:schemeClr val="lt1"/>
                </a:solidFill>
                <a:latin typeface="Lucida Console"/>
              </a:rPr>
              <a:t>Initialized empty Git repository in C:/MyNewRepository/.git/</a:t>
            </a:r>
          </a:p>
        </p:txBody>
      </p:sp>
      <p:graphicFrame>
        <p:nvGraphicFramePr>
          <p:cNvPr id="8" name="Text Placeholder 5">
            <a:extLst>
              <a:ext uri="{FF2B5EF4-FFF2-40B4-BE49-F238E27FC236}">
                <a16:creationId xmlns:a16="http://schemas.microsoft.com/office/drawing/2014/main" id="{761F802D-7BD0-48E8-B98D-30EB9F84A772}"/>
              </a:ext>
            </a:extLst>
          </p:cNvPr>
          <p:cNvGraphicFramePr/>
          <p:nvPr/>
        </p:nvGraphicFramePr>
        <p:xfrm>
          <a:off x="309282" y="781705"/>
          <a:ext cx="11443447" cy="335999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0" name="Picture 9">
            <a:extLst>
              <a:ext uri="{FF2B5EF4-FFF2-40B4-BE49-F238E27FC236}">
                <a16:creationId xmlns:a16="http://schemas.microsoft.com/office/drawing/2014/main" id="{F5117CB2-8243-4ECF-BF67-5EC30D74C205}"/>
              </a:ext>
            </a:extLst>
          </p:cNvPr>
          <p:cNvPicPr>
            <a:picLocks noChangeAspect="1"/>
          </p:cNvPicPr>
          <p:nvPr/>
        </p:nvPicPr>
        <p:blipFill rotWithShape="1">
          <a:blip r:embed="rId11"/>
          <a:srcRect t="-916" r="27138" b="55313"/>
          <a:stretch/>
        </p:blipFill>
        <p:spPr>
          <a:xfrm>
            <a:off x="2920860" y="5760034"/>
            <a:ext cx="6350280" cy="976943"/>
          </a:xfrm>
          <a:prstGeom prst="rect">
            <a:avLst/>
          </a:prstGeom>
        </p:spPr>
      </p:pic>
    </p:spTree>
    <p:custDataLst>
      <p:tags r:id="rId1"/>
    </p:custDataLst>
    <p:extLst>
      <p:ext uri="{BB962C8B-B14F-4D97-AF65-F5344CB8AC3E}">
        <p14:creationId xmlns:p14="http://schemas.microsoft.com/office/powerpoint/2010/main" val="2002600588"/>
      </p:ext>
    </p:extLst>
  </p:cSld>
  <p:clrMapOvr>
    <a:masterClrMapping/>
  </p:clrMapOvr>
  <p:transition spd="slow"/>
  <p:extLst>
    <p:ext uri="{6950BFC3-D8DA-4A85-94F7-54DA5524770B}">
      <p188:commentRel xmlns:p188="http://schemas.microsoft.com/office/powerpoint/2018/8/main" r:id="rId5"/>
    </p:ext>
  </p:extLst>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5807E4-38D4-4278-9B9E-286F7F89CC66}"/>
              </a:ext>
            </a:extLst>
          </p:cNvPr>
          <p:cNvSpPr>
            <a:spLocks noGrp="1"/>
          </p:cNvSpPr>
          <p:nvPr>
            <p:ph type="title"/>
          </p:nvPr>
        </p:nvSpPr>
        <p:spPr/>
        <p:txBody>
          <a:bodyPr/>
          <a:lstStyle/>
          <a:p>
            <a:r>
              <a:rPr lang="en-US"/>
              <a:t>Git Process </a:t>
            </a:r>
          </a:p>
        </p:txBody>
      </p:sp>
      <p:graphicFrame>
        <p:nvGraphicFramePr>
          <p:cNvPr id="5" name="Content Placeholder 4">
            <a:extLst>
              <a:ext uri="{FF2B5EF4-FFF2-40B4-BE49-F238E27FC236}">
                <a16:creationId xmlns:a16="http://schemas.microsoft.com/office/drawing/2014/main" id="{38D36B3D-5A15-4DD2-9146-3616185CF334}"/>
              </a:ext>
            </a:extLst>
          </p:cNvPr>
          <p:cNvGraphicFramePr>
            <a:graphicFrameLocks noGrp="1"/>
          </p:cNvGraphicFramePr>
          <p:nvPr>
            <p:ph sz="quarter" idx="13"/>
            <p:extLst>
              <p:ext uri="{D42A27DB-BD31-4B8C-83A1-F6EECF244321}">
                <p14:modId xmlns:p14="http://schemas.microsoft.com/office/powerpoint/2010/main" val="3812718790"/>
              </p:ext>
            </p:extLst>
          </p:nvPr>
        </p:nvGraphicFramePr>
        <p:xfrm>
          <a:off x="640080" y="1005840"/>
          <a:ext cx="10972800" cy="19202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8B2AB052-3209-4C7E-B6B4-9AB421354992}"/>
              </a:ext>
            </a:extLst>
          </p:cNvPr>
          <p:cNvGraphicFramePr/>
          <p:nvPr>
            <p:extLst>
              <p:ext uri="{D42A27DB-BD31-4B8C-83A1-F6EECF244321}">
                <p14:modId xmlns:p14="http://schemas.microsoft.com/office/powerpoint/2010/main" val="3354237177"/>
              </p:ext>
            </p:extLst>
          </p:nvPr>
        </p:nvGraphicFramePr>
        <p:xfrm>
          <a:off x="640080" y="3200400"/>
          <a:ext cx="10972800" cy="338328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508498538"/>
      </p:ext>
    </p:extLst>
  </p:cSld>
  <p:clrMapOvr>
    <a:masterClrMapping/>
  </p:clrMapOvr>
  <p:transition spd="slow"/>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D897FF-46A1-4D94-AA8D-2A0D49B83BA2}"/>
              </a:ext>
            </a:extLst>
          </p:cNvPr>
          <p:cNvSpPr>
            <a:spLocks noGrp="1"/>
          </p:cNvSpPr>
          <p:nvPr>
            <p:ph type="title"/>
          </p:nvPr>
        </p:nvSpPr>
        <p:spPr/>
        <p:txBody>
          <a:bodyPr/>
          <a:lstStyle/>
          <a:p>
            <a:r>
              <a:rPr lang="en-US">
                <a:cs typeface="Segoe UI"/>
              </a:rPr>
              <a:t>Adding Content to Staging Area</a:t>
            </a:r>
          </a:p>
        </p:txBody>
      </p:sp>
      <p:graphicFrame>
        <p:nvGraphicFramePr>
          <p:cNvPr id="4" name="Content Placeholder 3">
            <a:extLst>
              <a:ext uri="{FF2B5EF4-FFF2-40B4-BE49-F238E27FC236}">
                <a16:creationId xmlns:a16="http://schemas.microsoft.com/office/drawing/2014/main" id="{9BF7A521-8CC8-44B9-9A62-AF8EA1DAE537}"/>
              </a:ext>
            </a:extLst>
          </p:cNvPr>
          <p:cNvGraphicFramePr>
            <a:graphicFrameLocks noGrp="1"/>
          </p:cNvGraphicFramePr>
          <p:nvPr>
            <p:ph sz="quarter" idx="13"/>
            <p:extLst>
              <p:ext uri="{D42A27DB-BD31-4B8C-83A1-F6EECF244321}">
                <p14:modId xmlns:p14="http://schemas.microsoft.com/office/powerpoint/2010/main" val="2977741563"/>
              </p:ext>
            </p:extLst>
          </p:nvPr>
        </p:nvGraphicFramePr>
        <p:xfrm>
          <a:off x="640080" y="1005840"/>
          <a:ext cx="10972800" cy="18288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ode Box">
            <a:extLst>
              <a:ext uri="{FF2B5EF4-FFF2-40B4-BE49-F238E27FC236}">
                <a16:creationId xmlns:a16="http://schemas.microsoft.com/office/drawing/2014/main" id="{4CE014F1-9C61-4BCA-8A4D-508E5FD7E1B7}"/>
              </a:ext>
            </a:extLst>
          </p:cNvPr>
          <p:cNvSpPr/>
          <p:nvPr>
            <p:custDataLst>
              <p:tags r:id="rId2"/>
            </p:custDataLst>
          </p:nvPr>
        </p:nvSpPr>
        <p:spPr>
          <a:xfrm>
            <a:off x="640079" y="3017520"/>
            <a:ext cx="10972800" cy="3291840"/>
          </a:xfrm>
          <a:prstGeom prst="rect">
            <a:avLst/>
          </a:prstGeom>
          <a:solidFill>
            <a:srgbClr val="012456"/>
          </a:solidFill>
        </p:spPr>
        <p:txBody>
          <a:bodyPr wrap="square" tIns="91440" bIns="91440" anchor="t">
            <a:noAutofit/>
          </a:bodyPr>
          <a:lstStyle/>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add .\script.ps1</a:t>
            </a:r>
          </a:p>
          <a:p>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status</a:t>
            </a:r>
          </a:p>
          <a:p>
            <a:r>
              <a:rPr lang="en-AU" sz="2000">
                <a:solidFill>
                  <a:schemeClr val="lt1"/>
                </a:solidFill>
                <a:latin typeface="Lucida Console"/>
              </a:rPr>
              <a:t>On branch main</a:t>
            </a:r>
          </a:p>
          <a:p>
            <a:endParaRPr lang="en-AU" sz="2000">
              <a:solidFill>
                <a:schemeClr val="lt1"/>
              </a:solidFill>
              <a:latin typeface="Lucida Console" panose="020B0609040504020204" pitchFamily="49" charset="0"/>
            </a:endParaRPr>
          </a:p>
          <a:p>
            <a:r>
              <a:rPr lang="en-AU" sz="2000">
                <a:solidFill>
                  <a:schemeClr val="lt1"/>
                </a:solidFill>
                <a:latin typeface="Lucida Console"/>
              </a:rPr>
              <a:t>No commits yet</a:t>
            </a:r>
          </a:p>
          <a:p>
            <a:endParaRPr lang="en-AU" sz="2000">
              <a:solidFill>
                <a:schemeClr val="lt1"/>
              </a:solidFill>
              <a:latin typeface="Lucida Console" panose="020B0609040504020204" pitchFamily="49" charset="0"/>
            </a:endParaRPr>
          </a:p>
          <a:p>
            <a:r>
              <a:rPr lang="en-AU" sz="2000">
                <a:solidFill>
                  <a:schemeClr val="lt1"/>
                </a:solidFill>
                <a:latin typeface="Lucida Console"/>
              </a:rPr>
              <a:t>Changes to be committed:</a:t>
            </a:r>
          </a:p>
          <a:p>
            <a:r>
              <a:rPr lang="en-AU" sz="2000">
                <a:solidFill>
                  <a:schemeClr val="lt1"/>
                </a:solidFill>
                <a:latin typeface="Lucida Console"/>
              </a:rPr>
              <a:t>  (use "git rm –cached &lt;file&gt;... " to </a:t>
            </a:r>
            <a:r>
              <a:rPr lang="en-AU" sz="2000" err="1">
                <a:solidFill>
                  <a:schemeClr val="lt1"/>
                </a:solidFill>
                <a:latin typeface="Lucida Console"/>
              </a:rPr>
              <a:t>unstage</a:t>
            </a:r>
            <a:r>
              <a:rPr lang="en-AU" sz="2000">
                <a:solidFill>
                  <a:schemeClr val="lt1"/>
                </a:solidFill>
                <a:latin typeface="Lucida Console"/>
              </a:rPr>
              <a:t>)</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a:t>
            </a:r>
            <a:r>
              <a:rPr lang="en-AU" sz="2000">
                <a:solidFill>
                  <a:schemeClr val="accent4"/>
                </a:solidFill>
                <a:latin typeface="Lucida Console"/>
              </a:rPr>
              <a:t>new file:     script.txt</a:t>
            </a:r>
          </a:p>
        </p:txBody>
      </p:sp>
    </p:spTree>
    <p:custDataLst>
      <p:tags r:id="rId1"/>
    </p:custDataLst>
    <p:extLst>
      <p:ext uri="{BB962C8B-B14F-4D97-AF65-F5344CB8AC3E}">
        <p14:creationId xmlns:p14="http://schemas.microsoft.com/office/powerpoint/2010/main" val="3650975258"/>
      </p:ext>
    </p:extLst>
  </p:cSld>
  <p:clrMapOvr>
    <a:masterClrMapping/>
  </p:clrMapOvr>
  <p:transition spd="slow"/>
</p:sld>
</file>

<file path=ppt/slides/slide13.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453CA0-C8E9-4C9F-A0DF-85E83BD08CFE}"/>
              </a:ext>
            </a:extLst>
          </p:cNvPr>
          <p:cNvSpPr>
            <a:spLocks noGrp="1"/>
          </p:cNvSpPr>
          <p:nvPr>
            <p:ph type="title"/>
          </p:nvPr>
        </p:nvSpPr>
        <p:spPr/>
        <p:txBody>
          <a:bodyPr/>
          <a:lstStyle/>
          <a:p>
            <a:r>
              <a:rPr lang="en-US">
                <a:cs typeface="Segoe UI"/>
              </a:rPr>
              <a:t>Removing File From Staging Area</a:t>
            </a:r>
          </a:p>
        </p:txBody>
      </p:sp>
      <p:sp>
        <p:nvSpPr>
          <p:cNvPr id="6" name="Code Box">
            <a:extLst>
              <a:ext uri="{FF2B5EF4-FFF2-40B4-BE49-F238E27FC236}">
                <a16:creationId xmlns:a16="http://schemas.microsoft.com/office/drawing/2014/main" id="{937FA04D-A9D1-47B3-93F6-1257D434A8A4}"/>
              </a:ext>
            </a:extLst>
          </p:cNvPr>
          <p:cNvSpPr/>
          <p:nvPr>
            <p:custDataLst>
              <p:tags r:id="rId2"/>
            </p:custDataLst>
          </p:nvPr>
        </p:nvSpPr>
        <p:spPr>
          <a:xfrm>
            <a:off x="640080" y="1097280"/>
            <a:ext cx="10972800" cy="5029200"/>
          </a:xfrm>
          <a:prstGeom prst="rect">
            <a:avLst/>
          </a:prstGeom>
          <a:solidFill>
            <a:srgbClr val="012456"/>
          </a:solidFill>
        </p:spPr>
        <p:txBody>
          <a:bodyPr wrap="square" tIns="91440" bIns="91440" anchor="t">
            <a:noAutofit/>
          </a:bodyPr>
          <a:lstStyle/>
          <a:p>
            <a:pPr lvl="0" defTabSz="914367">
              <a:defRPr/>
            </a:pPr>
            <a:r>
              <a:rPr lang="en-AU" sz="1900">
                <a:solidFill>
                  <a:schemeClr val="lt1"/>
                </a:solidFill>
                <a:latin typeface="Lucida Console"/>
              </a:rPr>
              <a:t>PS c:\MyNewRepository&gt; </a:t>
            </a:r>
            <a:r>
              <a:rPr lang="en-AU" sz="1900">
                <a:solidFill>
                  <a:srgbClr val="FEF000"/>
                </a:solidFill>
                <a:latin typeface="Lucida Console"/>
              </a:rPr>
              <a:t>git</a:t>
            </a:r>
            <a:r>
              <a:rPr lang="en-AU" sz="1900">
                <a:solidFill>
                  <a:schemeClr val="lt1"/>
                </a:solidFill>
                <a:latin typeface="Lucida Console"/>
              </a:rPr>
              <a:t> rm .\script.ps1 –cached</a:t>
            </a:r>
          </a:p>
          <a:p>
            <a:pPr lvl="0" defTabSz="914367">
              <a:defRPr/>
            </a:pPr>
            <a:r>
              <a:rPr lang="en-AU" sz="1900">
                <a:solidFill>
                  <a:schemeClr val="lt1"/>
                </a:solidFill>
                <a:latin typeface="Lucida Console"/>
              </a:rPr>
              <a:t>Rm 'script.ps1’</a:t>
            </a:r>
          </a:p>
          <a:p>
            <a:pPr lvl="0" defTabSz="914367">
              <a:defRPr/>
            </a:pPr>
            <a:endParaRPr lang="en-AU" sz="1900">
              <a:solidFill>
                <a:schemeClr val="lt1"/>
              </a:solidFill>
              <a:latin typeface="Lucida Console"/>
            </a:endParaRPr>
          </a:p>
          <a:p>
            <a:r>
              <a:rPr lang="en-AU" sz="1900">
                <a:solidFill>
                  <a:schemeClr val="lt1"/>
                </a:solidFill>
                <a:latin typeface="Lucida Console"/>
              </a:rPr>
              <a:t>PS c:\MyNewRepository&gt; </a:t>
            </a:r>
            <a:r>
              <a:rPr lang="en-AU" sz="1900">
                <a:solidFill>
                  <a:srgbClr val="FEF000"/>
                </a:solidFill>
                <a:latin typeface="Lucida Console"/>
              </a:rPr>
              <a:t>git</a:t>
            </a:r>
            <a:r>
              <a:rPr lang="en-AU" sz="1900">
                <a:solidFill>
                  <a:schemeClr val="lt1"/>
                </a:solidFill>
                <a:latin typeface="Lucida Console"/>
              </a:rPr>
              <a:t> status</a:t>
            </a:r>
          </a:p>
          <a:p>
            <a:r>
              <a:rPr lang="en-AU" sz="1900">
                <a:solidFill>
                  <a:schemeClr val="lt1"/>
                </a:solidFill>
                <a:latin typeface="Lucida Console"/>
              </a:rPr>
              <a:t>On branch main</a:t>
            </a:r>
          </a:p>
          <a:p>
            <a:endParaRPr lang="en-AU" sz="1900">
              <a:solidFill>
                <a:schemeClr val="lt1"/>
              </a:solidFill>
              <a:latin typeface="Lucida Console" panose="020B0609040504020204" pitchFamily="49" charset="0"/>
            </a:endParaRPr>
          </a:p>
          <a:p>
            <a:r>
              <a:rPr lang="en-AU" sz="1900">
                <a:solidFill>
                  <a:schemeClr val="lt1"/>
                </a:solidFill>
                <a:latin typeface="Lucida Console"/>
              </a:rPr>
              <a:t>No commits yet</a:t>
            </a:r>
          </a:p>
          <a:p>
            <a:endParaRPr lang="en-AU" sz="1900">
              <a:solidFill>
                <a:schemeClr val="lt1"/>
              </a:solidFill>
              <a:latin typeface="Lucida Console" panose="020B0609040504020204" pitchFamily="49" charset="0"/>
            </a:endParaRPr>
          </a:p>
          <a:p>
            <a:r>
              <a:rPr lang="en-AU" sz="1900">
                <a:solidFill>
                  <a:schemeClr val="lt1"/>
                </a:solidFill>
                <a:latin typeface="Lucida Console"/>
              </a:rPr>
              <a:t>Untracked files:</a:t>
            </a:r>
          </a:p>
          <a:p>
            <a:r>
              <a:rPr lang="en-AU" sz="1900">
                <a:solidFill>
                  <a:schemeClr val="lt1"/>
                </a:solidFill>
                <a:latin typeface="Lucida Console"/>
              </a:rPr>
              <a:t>   (use "git add &lt;file&gt;..." to include in what will be committed)</a:t>
            </a:r>
          </a:p>
          <a:p>
            <a:endParaRPr lang="en-AU" sz="1900">
              <a:solidFill>
                <a:schemeClr val="lt1"/>
              </a:solidFill>
              <a:latin typeface="Lucida Console" panose="020B0609040504020204" pitchFamily="49" charset="0"/>
            </a:endParaRPr>
          </a:p>
          <a:p>
            <a:r>
              <a:rPr lang="en-AU" sz="1900">
                <a:solidFill>
                  <a:schemeClr val="accent3"/>
                </a:solidFill>
                <a:latin typeface="Lucida Console"/>
              </a:rPr>
              <a:t>            script.ps1</a:t>
            </a:r>
          </a:p>
          <a:p>
            <a:endParaRPr lang="en-AU" sz="1900">
              <a:solidFill>
                <a:schemeClr val="accent4"/>
              </a:solidFill>
              <a:latin typeface="Lucida Console" panose="020B0609040504020204" pitchFamily="49" charset="0"/>
            </a:endParaRPr>
          </a:p>
          <a:p>
            <a:r>
              <a:rPr lang="en-AU" sz="1900">
                <a:solidFill>
                  <a:schemeClr val="bg1"/>
                </a:solidFill>
                <a:latin typeface="Lucida Console"/>
              </a:rPr>
              <a:t>Nothing added to commit but untracked files present (use </a:t>
            </a:r>
            <a:r>
              <a:rPr lang="en-AU" sz="1900">
                <a:solidFill>
                  <a:schemeClr val="lt1"/>
                </a:solidFill>
                <a:latin typeface="Lucida Console"/>
              </a:rPr>
              <a:t>"</a:t>
            </a:r>
            <a:r>
              <a:rPr lang="en-AU" sz="1900">
                <a:solidFill>
                  <a:schemeClr val="bg1"/>
                </a:solidFill>
                <a:latin typeface="Lucida Console"/>
              </a:rPr>
              <a:t>git add</a:t>
            </a:r>
            <a:r>
              <a:rPr lang="en-AU" sz="1900">
                <a:solidFill>
                  <a:schemeClr val="lt1"/>
                </a:solidFill>
                <a:latin typeface="Lucida Console"/>
              </a:rPr>
              <a:t>"</a:t>
            </a:r>
            <a:r>
              <a:rPr lang="en-AU" sz="1900">
                <a:solidFill>
                  <a:schemeClr val="bg1"/>
                </a:solidFill>
                <a:latin typeface="Lucida Console"/>
              </a:rPr>
              <a:t> to track)</a:t>
            </a:r>
          </a:p>
        </p:txBody>
      </p:sp>
    </p:spTree>
    <p:custDataLst>
      <p:tags r:id="rId1"/>
    </p:custDataLst>
    <p:extLst>
      <p:ext uri="{BB962C8B-B14F-4D97-AF65-F5344CB8AC3E}">
        <p14:creationId xmlns:p14="http://schemas.microsoft.com/office/powerpoint/2010/main" val="4006278816"/>
      </p:ext>
    </p:extLst>
  </p:cSld>
  <p:clrMapOvr>
    <a:masterClrMapping/>
  </p:clrMapOvr>
  <p:transition spd="slow"/>
  <p:extLst>
    <p:ext uri="{6950BFC3-D8DA-4A85-94F7-54DA5524770B}">
      <p188:commentRel xmlns:p188="http://schemas.microsoft.com/office/powerpoint/2018/8/main" r:id="rId4"/>
    </p:ext>
  </p:extLst>
</p:sld>
</file>

<file path=ppt/slides/slide14.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955413-AF5F-4892-82E0-8369754A4CD8}"/>
              </a:ext>
            </a:extLst>
          </p:cNvPr>
          <p:cNvSpPr>
            <a:spLocks noGrp="1"/>
          </p:cNvSpPr>
          <p:nvPr>
            <p:ph type="title"/>
          </p:nvPr>
        </p:nvSpPr>
        <p:spPr>
          <a:prstGeom prst="rect">
            <a:avLst/>
          </a:prstGeom>
          <a:ln>
            <a:noFill/>
          </a:ln>
        </p:spPr>
        <p:txBody>
          <a:bodyPr wrap="square" anchor="ctr">
            <a:normAutofit/>
          </a:bodyPr>
          <a:lstStyle/>
          <a:p>
            <a:r>
              <a:rPr lang="en-US"/>
              <a:t>Commits</a:t>
            </a:r>
          </a:p>
        </p:txBody>
      </p:sp>
      <p:graphicFrame>
        <p:nvGraphicFramePr>
          <p:cNvPr id="4" name="Diagram 3">
            <a:extLst>
              <a:ext uri="{FF2B5EF4-FFF2-40B4-BE49-F238E27FC236}">
                <a16:creationId xmlns:a16="http://schemas.microsoft.com/office/drawing/2014/main" id="{3F834BDE-028F-48AC-A6A7-B0AC65223F7A}"/>
              </a:ext>
            </a:extLst>
          </p:cNvPr>
          <p:cNvGraphicFramePr/>
          <p:nvPr>
            <p:extLst>
              <p:ext uri="{D42A27DB-BD31-4B8C-83A1-F6EECF244321}">
                <p14:modId xmlns:p14="http://schemas.microsoft.com/office/powerpoint/2010/main" val="2764777995"/>
              </p:ext>
            </p:extLst>
          </p:nvPr>
        </p:nvGraphicFramePr>
        <p:xfrm>
          <a:off x="4303059" y="221876"/>
          <a:ext cx="7523629" cy="64142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382406181"/>
      </p:ext>
    </p:extLst>
  </p:cSld>
  <p:clrMapOvr>
    <a:masterClrMapping/>
  </p:clrMapOvr>
  <p:transition spd="slow"/>
  <p:extLst>
    <p:ext uri="{6950BFC3-D8DA-4A85-94F7-54DA5524770B}">
      <p188:commentRel xmlns:p188="http://schemas.microsoft.com/office/powerpoint/2018/8/main" r:id="rId4"/>
    </p:ext>
  </p:extLst>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777EE-734B-48D9-98D4-EE2892C63AFA}"/>
              </a:ext>
            </a:extLst>
          </p:cNvPr>
          <p:cNvSpPr>
            <a:spLocks noGrp="1"/>
          </p:cNvSpPr>
          <p:nvPr>
            <p:ph type="title"/>
          </p:nvPr>
        </p:nvSpPr>
        <p:spPr/>
        <p:txBody>
          <a:bodyPr/>
          <a:lstStyle/>
          <a:p>
            <a:r>
              <a:rPr lang="en-US">
                <a:cs typeface="Segoe UI"/>
              </a:rPr>
              <a:t>Committing Changes</a:t>
            </a:r>
            <a:endParaRPr lang="en-US"/>
          </a:p>
        </p:txBody>
      </p:sp>
      <p:sp>
        <p:nvSpPr>
          <p:cNvPr id="2" name="Text Placeholder 1">
            <a:extLst>
              <a:ext uri="{FF2B5EF4-FFF2-40B4-BE49-F238E27FC236}">
                <a16:creationId xmlns:a16="http://schemas.microsoft.com/office/drawing/2014/main" id="{F92BF848-BD86-4C1C-B48C-FBDF68FF9BB2}"/>
              </a:ext>
            </a:extLst>
          </p:cNvPr>
          <p:cNvSpPr>
            <a:spLocks noGrp="1"/>
          </p:cNvSpPr>
          <p:nvPr>
            <p:ph sz="quarter" idx="13"/>
          </p:nvPr>
        </p:nvSpPr>
        <p:spPr>
          <a:xfrm>
            <a:off x="640080" y="1097280"/>
            <a:ext cx="10972800" cy="457200"/>
          </a:xfrm>
        </p:spPr>
        <p:txBody>
          <a:bodyPr vert="horz" lIns="0" tIns="0" rIns="0" bIns="0" rtlCol="0" anchor="t">
            <a:normAutofit/>
          </a:bodyPr>
          <a:lstStyle/>
          <a:p>
            <a:pPr marL="0" indent="0">
              <a:buNone/>
            </a:pPr>
            <a:r>
              <a:rPr lang="en-US" b="1">
                <a:cs typeface="Segoe UI"/>
              </a:rPr>
              <a:t>Commit all changes:</a:t>
            </a:r>
            <a:r>
              <a:rPr lang="en-US">
                <a:cs typeface="Segoe UI"/>
              </a:rPr>
              <a:t> </a:t>
            </a:r>
            <a:r>
              <a:rPr lang="en-US" i="1">
                <a:cs typeface="Segoe UI"/>
              </a:rPr>
              <a:t>git commit –m “&lt;commit message&gt;”</a:t>
            </a:r>
          </a:p>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cs typeface="Segoe UI"/>
            </a:endParaRPr>
          </a:p>
          <a:p>
            <a:pPr marL="0" indent="0">
              <a:buNone/>
            </a:pPr>
            <a:endParaRPr lang="en-US"/>
          </a:p>
          <a:p>
            <a:pPr marL="0" indent="0">
              <a:buNone/>
            </a:pPr>
            <a:endParaRPr lang="en-US"/>
          </a:p>
        </p:txBody>
      </p:sp>
      <p:sp>
        <p:nvSpPr>
          <p:cNvPr id="8" name="Code Box">
            <a:extLst>
              <a:ext uri="{FF2B5EF4-FFF2-40B4-BE49-F238E27FC236}">
                <a16:creationId xmlns:a16="http://schemas.microsoft.com/office/drawing/2014/main" id="{3253C3D2-7C15-4D4A-8F0F-FDDC531CA527}"/>
              </a:ext>
            </a:extLst>
          </p:cNvPr>
          <p:cNvSpPr/>
          <p:nvPr>
            <p:custDataLst>
              <p:tags r:id="rId2"/>
            </p:custDataLst>
          </p:nvPr>
        </p:nvSpPr>
        <p:spPr>
          <a:xfrm>
            <a:off x="640080" y="1554480"/>
            <a:ext cx="10972800" cy="1828800"/>
          </a:xfrm>
          <a:prstGeom prst="rect">
            <a:avLst/>
          </a:prstGeom>
          <a:solidFill>
            <a:srgbClr val="012456"/>
          </a:solidFill>
        </p:spPr>
        <p:txBody>
          <a:bodyPr wrap="square" tIns="91440" bIns="91440">
            <a:noAutofit/>
          </a:bodyPr>
          <a:lstStyle/>
          <a:p>
            <a:pPr lvl="0" defTabSz="914367">
              <a:defRPr/>
            </a:pPr>
            <a:r>
              <a:rPr lang="en-AU" sz="1800">
                <a:solidFill>
                  <a:schemeClr val="lt1"/>
                </a:solidFill>
                <a:latin typeface="Lucida Console" panose="020B0609040504020204" pitchFamily="49" charset="0"/>
              </a:rPr>
              <a:t>PS c:\MyNewRepository&gt; </a:t>
            </a:r>
            <a:r>
              <a:rPr lang="en-AU" sz="1800">
                <a:solidFill>
                  <a:srgbClr val="FEF000"/>
                </a:solidFill>
                <a:latin typeface="Lucida Console" panose="020B0609040504020204" pitchFamily="49" charset="0"/>
              </a:rPr>
              <a:t>git</a:t>
            </a:r>
            <a:r>
              <a:rPr lang="en-AU" sz="1800">
                <a:solidFill>
                  <a:schemeClr val="lt1"/>
                </a:solidFill>
                <a:latin typeface="Lucida Console" panose="020B0609040504020204" pitchFamily="49" charset="0"/>
              </a:rPr>
              <a:t> commit </a:t>
            </a:r>
            <a:r>
              <a:rPr lang="en-AU" sz="1800">
                <a:solidFill>
                  <a:srgbClr val="FEF000"/>
                </a:solidFill>
                <a:latin typeface="Lucida Console" panose="020B0609040504020204" pitchFamily="49" charset="0"/>
              </a:rPr>
              <a:t>–m </a:t>
            </a:r>
            <a:r>
              <a:rPr lang="en-AU" sz="1800">
                <a:solidFill>
                  <a:schemeClr val="lt1"/>
                </a:solidFill>
                <a:latin typeface="Lucida Console" panose="020B0609040504020204" pitchFamily="49" charset="0"/>
              </a:rPr>
              <a:t>"Made a small change"</a:t>
            </a:r>
          </a:p>
          <a:p>
            <a:pPr lvl="0" defTabSz="914367">
              <a:defRPr/>
            </a:pPr>
            <a:endParaRPr lang="en-AU" sz="1800">
              <a:solidFill>
                <a:schemeClr val="lt1"/>
              </a:solidFill>
              <a:latin typeface="Lucida Console" panose="020B0609040504020204" pitchFamily="49" charset="0"/>
            </a:endParaRPr>
          </a:p>
          <a:p>
            <a:pPr lvl="0" defTabSz="914367">
              <a:defRPr/>
            </a:pPr>
            <a:r>
              <a:rPr lang="en-AU" sz="1800">
                <a:solidFill>
                  <a:schemeClr val="lt1"/>
                </a:solidFill>
                <a:latin typeface="Lucida Console" panose="020B0609040504020204" pitchFamily="49" charset="0"/>
              </a:rPr>
              <a:t>[main 67b2b30] Commit</a:t>
            </a:r>
          </a:p>
          <a:p>
            <a:r>
              <a:rPr lang="en-AU" sz="1800">
                <a:solidFill>
                  <a:schemeClr val="lt1"/>
                </a:solidFill>
                <a:latin typeface="Lucida Console" panose="020B0609040504020204" pitchFamily="49" charset="0"/>
              </a:rPr>
              <a:t> Date: Tue Apr 10 16:21:50 2018 +1000</a:t>
            </a:r>
          </a:p>
          <a:p>
            <a:r>
              <a:rPr lang="en-AU" sz="1800">
                <a:solidFill>
                  <a:schemeClr val="lt1"/>
                </a:solidFill>
                <a:latin typeface="Lucida Console" panose="020B0609040504020204" pitchFamily="49" charset="0"/>
              </a:rPr>
              <a:t> 1 file changed, 0 insertions(+), 0 deletions(-)</a:t>
            </a:r>
          </a:p>
          <a:p>
            <a:r>
              <a:rPr lang="en-AU" sz="1800">
                <a:solidFill>
                  <a:schemeClr val="lt1"/>
                </a:solidFill>
                <a:latin typeface="Lucida Console" panose="020B0609040504020204" pitchFamily="49" charset="0"/>
              </a:rPr>
              <a:t> create mode 100644 script.ps1</a:t>
            </a:r>
          </a:p>
        </p:txBody>
      </p:sp>
      <p:sp>
        <p:nvSpPr>
          <p:cNvPr id="9" name="Code Box">
            <a:extLst>
              <a:ext uri="{FF2B5EF4-FFF2-40B4-BE49-F238E27FC236}">
                <a16:creationId xmlns:a16="http://schemas.microsoft.com/office/drawing/2014/main" id="{7EB53857-6044-4BD7-848D-EF885D48417B}"/>
              </a:ext>
            </a:extLst>
          </p:cNvPr>
          <p:cNvSpPr/>
          <p:nvPr>
            <p:custDataLst>
              <p:tags r:id="rId3"/>
            </p:custDataLst>
          </p:nvPr>
        </p:nvSpPr>
        <p:spPr>
          <a:xfrm>
            <a:off x="640080" y="4206240"/>
            <a:ext cx="10972800" cy="1828800"/>
          </a:xfrm>
          <a:prstGeom prst="rect">
            <a:avLst/>
          </a:prstGeom>
          <a:solidFill>
            <a:srgbClr val="012456"/>
          </a:solidFill>
        </p:spPr>
        <p:txBody>
          <a:bodyPr wrap="square" tIns="91440" bIns="91440">
            <a:noAutofit/>
          </a:bodyPr>
          <a:lstStyle/>
          <a:p>
            <a:pPr lvl="0" defTabSz="914367">
              <a:defRPr/>
            </a:pPr>
            <a:r>
              <a:rPr lang="en-AU" sz="1800">
                <a:solidFill>
                  <a:schemeClr val="lt1"/>
                </a:solidFill>
                <a:latin typeface="Lucida Console" panose="020B0609040504020204" pitchFamily="49" charset="0"/>
              </a:rPr>
              <a:t>PS c:\MyNewRepository&gt; </a:t>
            </a:r>
            <a:r>
              <a:rPr lang="en-AU" sz="1800">
                <a:solidFill>
                  <a:srgbClr val="FEF000"/>
                </a:solidFill>
                <a:latin typeface="Lucida Console" panose="020B0609040504020204" pitchFamily="49" charset="0"/>
              </a:rPr>
              <a:t>git</a:t>
            </a:r>
            <a:r>
              <a:rPr lang="en-AU" sz="1800">
                <a:solidFill>
                  <a:schemeClr val="lt1"/>
                </a:solidFill>
                <a:latin typeface="Lucida Console" panose="020B0609040504020204" pitchFamily="49" charset="0"/>
              </a:rPr>
              <a:t> commit </a:t>
            </a:r>
            <a:r>
              <a:rPr lang="en-AU" sz="1800">
                <a:solidFill>
                  <a:srgbClr val="FEF000"/>
                </a:solidFill>
                <a:latin typeface="Lucida Console" panose="020B0609040504020204" pitchFamily="49" charset="0"/>
              </a:rPr>
              <a:t>–m </a:t>
            </a:r>
            <a:r>
              <a:rPr lang="en-AU" sz="1800">
                <a:solidFill>
                  <a:schemeClr val="lt1"/>
                </a:solidFill>
                <a:latin typeface="Lucida Console" panose="020B0609040504020204" pitchFamily="49" charset="0"/>
              </a:rPr>
              <a:t>"Altered commit" –amend</a:t>
            </a:r>
          </a:p>
          <a:p>
            <a:pPr lvl="0" defTabSz="914367">
              <a:defRPr/>
            </a:pPr>
            <a:endParaRPr lang="en-AU" sz="1800">
              <a:solidFill>
                <a:schemeClr val="lt1"/>
              </a:solidFill>
              <a:latin typeface="Lucida Console" panose="020B0609040504020204" pitchFamily="49" charset="0"/>
            </a:endParaRPr>
          </a:p>
          <a:p>
            <a:r>
              <a:rPr lang="en-AU" sz="1800">
                <a:solidFill>
                  <a:schemeClr val="lt1"/>
                </a:solidFill>
                <a:latin typeface="Lucida Console" panose="020B0609040504020204" pitchFamily="49" charset="0"/>
              </a:rPr>
              <a:t>[main 67b2b30] Altered commit</a:t>
            </a:r>
          </a:p>
          <a:p>
            <a:r>
              <a:rPr lang="en-AU" sz="1800">
                <a:solidFill>
                  <a:schemeClr val="lt1"/>
                </a:solidFill>
                <a:latin typeface="Lucida Console" panose="020B0609040504020204" pitchFamily="49" charset="0"/>
              </a:rPr>
              <a:t> Date: Tue Apr 10 16:21:50 2018 +1000</a:t>
            </a:r>
          </a:p>
          <a:p>
            <a:r>
              <a:rPr lang="en-AU" sz="1800">
                <a:solidFill>
                  <a:schemeClr val="lt1"/>
                </a:solidFill>
                <a:latin typeface="Lucida Console" panose="020B0609040504020204" pitchFamily="49" charset="0"/>
              </a:rPr>
              <a:t> 1 file changed, 0 insertions(+), 0 deletions(-)</a:t>
            </a:r>
          </a:p>
          <a:p>
            <a:r>
              <a:rPr lang="en-AU" sz="1800">
                <a:solidFill>
                  <a:schemeClr val="lt1"/>
                </a:solidFill>
                <a:latin typeface="Lucida Console" panose="020B0609040504020204" pitchFamily="49" charset="0"/>
              </a:rPr>
              <a:t> create mode 100644 script.ps1</a:t>
            </a:r>
          </a:p>
        </p:txBody>
      </p:sp>
      <p:sp>
        <p:nvSpPr>
          <p:cNvPr id="7" name="TextBox 6">
            <a:extLst>
              <a:ext uri="{FF2B5EF4-FFF2-40B4-BE49-F238E27FC236}">
                <a16:creationId xmlns:a16="http://schemas.microsoft.com/office/drawing/2014/main" id="{8576203E-EB4C-4A14-B252-6D78DF66E990}"/>
              </a:ext>
            </a:extLst>
          </p:cNvPr>
          <p:cNvSpPr txBox="1"/>
          <p:nvPr/>
        </p:nvSpPr>
        <p:spPr>
          <a:xfrm>
            <a:off x="640080" y="3749040"/>
            <a:ext cx="10972800" cy="369332"/>
          </a:xfrm>
          <a:prstGeom prst="rect">
            <a:avLst/>
          </a:prstGeom>
          <a:noFill/>
        </p:spPr>
        <p:txBody>
          <a:bodyPr wrap="square" lIns="0" tIns="0" rIns="0" bIns="0">
            <a:spAutoFit/>
          </a:bodyPr>
          <a:lstStyle/>
          <a:p>
            <a:r>
              <a:rPr lang="en-US" sz="2400">
                <a:cs typeface="Segoe UI"/>
              </a:rPr>
              <a:t>Use </a:t>
            </a:r>
            <a:r>
              <a:rPr lang="en-US" sz="2400" b="1">
                <a:cs typeface="Segoe UI"/>
              </a:rPr>
              <a:t>–amend</a:t>
            </a:r>
            <a:r>
              <a:rPr lang="en-US" sz="2400">
                <a:cs typeface="Segoe UI"/>
              </a:rPr>
              <a:t> switch to change last commit</a:t>
            </a:r>
          </a:p>
        </p:txBody>
      </p:sp>
    </p:spTree>
    <p:custDataLst>
      <p:tags r:id="rId1"/>
    </p:custDataLst>
    <p:extLst>
      <p:ext uri="{BB962C8B-B14F-4D97-AF65-F5344CB8AC3E}">
        <p14:creationId xmlns:p14="http://schemas.microsoft.com/office/powerpoint/2010/main" val="3851443998"/>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588DDB-EF12-48CB-9425-0D361B7A798C}"/>
              </a:ext>
            </a:extLst>
          </p:cNvPr>
          <p:cNvSpPr>
            <a:spLocks noGrp="1"/>
          </p:cNvSpPr>
          <p:nvPr>
            <p:ph type="title"/>
          </p:nvPr>
        </p:nvSpPr>
        <p:spPr/>
        <p:txBody>
          <a:bodyPr/>
          <a:lstStyle/>
          <a:p>
            <a:r>
              <a:rPr lang="en-US"/>
              <a:t>Common Options For Viewing History</a:t>
            </a:r>
          </a:p>
        </p:txBody>
      </p:sp>
      <p:graphicFrame>
        <p:nvGraphicFramePr>
          <p:cNvPr id="2" name="Content Placeholder 1">
            <a:extLst>
              <a:ext uri="{FF2B5EF4-FFF2-40B4-BE49-F238E27FC236}">
                <a16:creationId xmlns:a16="http://schemas.microsoft.com/office/drawing/2014/main" id="{740EC26E-B7E1-4A1E-9E7A-EA3B17E49D3D}"/>
              </a:ext>
            </a:extLst>
          </p:cNvPr>
          <p:cNvGraphicFramePr>
            <a:graphicFrameLocks noGrp="1"/>
          </p:cNvGraphicFramePr>
          <p:nvPr>
            <p:ph sz="quarter" idx="13"/>
            <p:extLst>
              <p:ext uri="{D42A27DB-BD31-4B8C-83A1-F6EECF244321}">
                <p14:modId xmlns:p14="http://schemas.microsoft.com/office/powerpoint/2010/main" val="2665072168"/>
              </p:ext>
            </p:extLst>
          </p:nvPr>
        </p:nvGraphicFramePr>
        <p:xfrm>
          <a:off x="655637" y="101917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49075182"/>
      </p:ext>
    </p:extLst>
  </p:cSld>
  <p:clrMapOvr>
    <a:masterClrMapping/>
  </p:clrMapOvr>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2C87F-A94F-4D57-BE3D-E188B69E3BAD}"/>
              </a:ext>
            </a:extLst>
          </p:cNvPr>
          <p:cNvSpPr>
            <a:spLocks noGrp="1"/>
          </p:cNvSpPr>
          <p:nvPr>
            <p:ph type="title"/>
          </p:nvPr>
        </p:nvSpPr>
        <p:spPr/>
        <p:txBody>
          <a:bodyPr/>
          <a:lstStyle/>
          <a:p>
            <a:r>
              <a:rPr lang="en-US">
                <a:cs typeface="Segoe UI"/>
              </a:rPr>
              <a:t>History With Git Log</a:t>
            </a:r>
            <a:endParaRPr lang="en-US"/>
          </a:p>
        </p:txBody>
      </p:sp>
      <p:sp>
        <p:nvSpPr>
          <p:cNvPr id="6" name="Code Box">
            <a:extLst>
              <a:ext uri="{FF2B5EF4-FFF2-40B4-BE49-F238E27FC236}">
                <a16:creationId xmlns:a16="http://schemas.microsoft.com/office/drawing/2014/main" id="{57F21D56-4AF5-4BA9-830A-68C97D8DA718}"/>
              </a:ext>
            </a:extLst>
          </p:cNvPr>
          <p:cNvSpPr/>
          <p:nvPr>
            <p:custDataLst>
              <p:tags r:id="rId2"/>
            </p:custDataLst>
          </p:nvPr>
        </p:nvSpPr>
        <p:spPr>
          <a:xfrm>
            <a:off x="640080" y="1097280"/>
            <a:ext cx="10972800" cy="5212080"/>
          </a:xfrm>
          <a:prstGeom prst="rect">
            <a:avLst/>
          </a:prstGeom>
          <a:solidFill>
            <a:srgbClr val="012456"/>
          </a:solidFill>
        </p:spPr>
        <p:txBody>
          <a:bodyPr wrap="square" tIns="91440" bIns="91440" anchor="t">
            <a:noAutofit/>
          </a:bodyPr>
          <a:lstStyle/>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log</a:t>
            </a:r>
          </a:p>
          <a:p>
            <a:pPr lvl="0" defTabSz="914367">
              <a:defRPr/>
            </a:pPr>
            <a:r>
              <a:rPr lang="en-AU" sz="2000">
                <a:solidFill>
                  <a:schemeClr val="lt1"/>
                </a:solidFill>
                <a:latin typeface="Lucida Console"/>
              </a:rPr>
              <a:t>Commit ebf96ff9862bc450a4b61c48742c0ec64639d1c (</a:t>
            </a:r>
            <a:r>
              <a:rPr lang="en-AU" sz="2000">
                <a:solidFill>
                  <a:schemeClr val="bg2"/>
                </a:solidFill>
                <a:latin typeface="Lucida Console"/>
              </a:rPr>
              <a:t>HEAD -&gt; </a:t>
            </a:r>
            <a:r>
              <a:rPr lang="en-AU" sz="2000">
                <a:solidFill>
                  <a:schemeClr val="accent4"/>
                </a:solidFill>
                <a:latin typeface="Lucida Console"/>
              </a:rPr>
              <a:t>main</a:t>
            </a:r>
            <a:r>
              <a:rPr lang="en-AU" sz="2000">
                <a:solidFill>
                  <a:schemeClr val="lt1"/>
                </a:solidFill>
                <a:latin typeface="Lucida Console"/>
              </a:rPr>
              <a:t>)</a:t>
            </a:r>
          </a:p>
          <a:p>
            <a:r>
              <a:rPr lang="en-AU" sz="2000">
                <a:solidFill>
                  <a:schemeClr val="lt1"/>
                </a:solidFill>
                <a:latin typeface="Lucida Console"/>
              </a:rPr>
              <a:t>Author: Anthony Watherston &lt;anwather@contoso.com&gt;</a:t>
            </a:r>
          </a:p>
          <a:p>
            <a:r>
              <a:rPr lang="en-AU" sz="2000">
                <a:solidFill>
                  <a:schemeClr val="lt1"/>
                </a:solidFill>
                <a:latin typeface="Lucida Console"/>
              </a:rPr>
              <a:t>Date    Tue Apr 10 16:25:40 2018 +1000</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Made a small change</a:t>
            </a:r>
          </a:p>
          <a:p>
            <a:endParaRPr lang="en-AU" sz="2000">
              <a:solidFill>
                <a:schemeClr val="lt1"/>
              </a:solidFill>
              <a:latin typeface="Lucida Console" panose="020B0609040504020204" pitchFamily="49" charset="0"/>
            </a:endParaRPr>
          </a:p>
          <a:p>
            <a:pPr defTabSz="914367">
              <a:defRPr/>
            </a:pPr>
            <a:r>
              <a:rPr lang="en-AU" sz="2000">
                <a:solidFill>
                  <a:schemeClr val="lt1"/>
                </a:solidFill>
                <a:latin typeface="Lucida Console"/>
              </a:rPr>
              <a:t>Commit 67b2b30e8cc6b8167ba947a55440730951ac44bq </a:t>
            </a:r>
            <a:endParaRPr lang="en-AU" sz="2000">
              <a:solidFill>
                <a:schemeClr val="lt1"/>
              </a:solidFill>
              <a:latin typeface="Lucida Console" panose="020B0609040504020204" pitchFamily="49" charset="0"/>
            </a:endParaRPr>
          </a:p>
          <a:p>
            <a:r>
              <a:rPr lang="en-AU" sz="2000">
                <a:solidFill>
                  <a:schemeClr val="lt1"/>
                </a:solidFill>
                <a:latin typeface="Lucida Console"/>
              </a:rPr>
              <a:t>Author: Anthony Watherston &lt;anwather@contoso.com&gt;</a:t>
            </a:r>
          </a:p>
          <a:p>
            <a:r>
              <a:rPr lang="en-AU" sz="2000">
                <a:solidFill>
                  <a:schemeClr val="lt1"/>
                </a:solidFill>
                <a:latin typeface="Lucida Console"/>
              </a:rPr>
              <a:t>Date    Tue Apr 10 16:25:40 2018 +1000</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Altered commit</a:t>
            </a:r>
          </a:p>
          <a:p>
            <a:endParaRPr lang="en-AU" sz="2000">
              <a:solidFill>
                <a:schemeClr val="lt1"/>
              </a:solidFill>
              <a:latin typeface="Lucida Console"/>
            </a:endParaRPr>
          </a:p>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log --</a:t>
            </a:r>
            <a:r>
              <a:rPr lang="en-AU" sz="2000" err="1">
                <a:solidFill>
                  <a:schemeClr val="lt1"/>
                </a:solidFill>
                <a:latin typeface="Lucida Console"/>
              </a:rPr>
              <a:t>oneline</a:t>
            </a:r>
            <a:endParaRPr lang="en-AU" sz="2000">
              <a:solidFill>
                <a:schemeClr val="lt1"/>
              </a:solidFill>
              <a:latin typeface="Lucida Console"/>
            </a:endParaRPr>
          </a:p>
          <a:p>
            <a:pPr lvl="0" defTabSz="914367">
              <a:defRPr/>
            </a:pPr>
            <a:r>
              <a:rPr lang="en-AU" sz="2000">
                <a:solidFill>
                  <a:schemeClr val="lt1"/>
                </a:solidFill>
                <a:latin typeface="Lucida Console"/>
              </a:rPr>
              <a:t>ebf96ff (</a:t>
            </a:r>
            <a:r>
              <a:rPr lang="en-AU" sz="2000">
                <a:solidFill>
                  <a:schemeClr val="bg2"/>
                </a:solidFill>
                <a:latin typeface="Lucida Console"/>
              </a:rPr>
              <a:t>HEAD -&gt; </a:t>
            </a:r>
            <a:r>
              <a:rPr lang="en-AU" sz="2000">
                <a:solidFill>
                  <a:schemeClr val="accent4"/>
                </a:solidFill>
                <a:latin typeface="Lucida Console"/>
              </a:rPr>
              <a:t>main</a:t>
            </a:r>
            <a:r>
              <a:rPr lang="en-AU" sz="2000">
                <a:solidFill>
                  <a:schemeClr val="lt1"/>
                </a:solidFill>
                <a:latin typeface="Lucida Console"/>
              </a:rPr>
              <a:t>) Made a small change</a:t>
            </a:r>
          </a:p>
          <a:p>
            <a:pPr lvl="0" defTabSz="914367">
              <a:defRPr/>
            </a:pPr>
            <a:r>
              <a:rPr lang="en-AU" sz="2000">
                <a:solidFill>
                  <a:schemeClr val="lt1"/>
                </a:solidFill>
                <a:latin typeface="Lucida Console"/>
              </a:rPr>
              <a:t>Commit 67b2b30 Altered commit</a:t>
            </a:r>
          </a:p>
          <a:p>
            <a:endParaRPr lang="en-AU"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132298953"/>
      </p:ext>
    </p:extLst>
  </p:cSld>
  <p:clrMapOvr>
    <a:masterClrMapping/>
  </p:clrMapOvr>
  <p:transition spd="slow"/>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with medium confidence">
            <a:extLst>
              <a:ext uri="{FF2B5EF4-FFF2-40B4-BE49-F238E27FC236}">
                <a16:creationId xmlns:a16="http://schemas.microsoft.com/office/drawing/2014/main" id="{975C0EEC-63EB-4138-AEEE-1DB7F9942F67}"/>
              </a:ext>
            </a:extLst>
          </p:cNvPr>
          <p:cNvPicPr>
            <a:picLocks noChangeAspect="1"/>
          </p:cNvPicPr>
          <p:nvPr/>
        </p:nvPicPr>
        <p:blipFill rotWithShape="1">
          <a:blip r:embed="rId3"/>
          <a:srcRect r="3707"/>
          <a:stretch/>
        </p:blipFill>
        <p:spPr>
          <a:xfrm>
            <a:off x="225972" y="2500493"/>
            <a:ext cx="11740055" cy="2451928"/>
          </a:xfrm>
          <a:prstGeom prst="rect">
            <a:avLst/>
          </a:prstGeom>
        </p:spPr>
      </p:pic>
      <p:sp>
        <p:nvSpPr>
          <p:cNvPr id="2" name="Title 1">
            <a:extLst>
              <a:ext uri="{FF2B5EF4-FFF2-40B4-BE49-F238E27FC236}">
                <a16:creationId xmlns:a16="http://schemas.microsoft.com/office/drawing/2014/main" id="{FE2A4383-CBFC-45C1-817F-CF167C87CC5B}"/>
              </a:ext>
            </a:extLst>
          </p:cNvPr>
          <p:cNvSpPr>
            <a:spLocks noGrp="1"/>
          </p:cNvSpPr>
          <p:nvPr>
            <p:ph type="title"/>
          </p:nvPr>
        </p:nvSpPr>
        <p:spPr>
          <a:xfrm>
            <a:off x="655638" y="320040"/>
            <a:ext cx="10880725" cy="461665"/>
          </a:xfrm>
        </p:spPr>
        <p:txBody>
          <a:bodyPr wrap="square" anchor="t">
            <a:normAutofit/>
          </a:bodyPr>
          <a:lstStyle/>
          <a:p>
            <a:r>
              <a:rPr lang="en-US"/>
              <a:t>Git File History Extension</a:t>
            </a:r>
          </a:p>
        </p:txBody>
      </p:sp>
      <p:sp>
        <p:nvSpPr>
          <p:cNvPr id="8" name="Speech Bubble: Rectangle with Corners Rounded 7">
            <a:extLst>
              <a:ext uri="{FF2B5EF4-FFF2-40B4-BE49-F238E27FC236}">
                <a16:creationId xmlns:a16="http://schemas.microsoft.com/office/drawing/2014/main" id="{9A581DEA-BA1E-4255-BACD-D4685E042327}"/>
              </a:ext>
            </a:extLst>
          </p:cNvPr>
          <p:cNvSpPr/>
          <p:nvPr/>
        </p:nvSpPr>
        <p:spPr bwMode="auto">
          <a:xfrm>
            <a:off x="5881589" y="5354849"/>
            <a:ext cx="2645804" cy="461666"/>
          </a:xfrm>
          <a:prstGeom prst="wedgeRoundRectCallout">
            <a:avLst>
              <a:gd name="adj1" fmla="val -32563"/>
              <a:gd name="adj2" fmla="val -5228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ommit info</a:t>
            </a:r>
          </a:p>
        </p:txBody>
      </p:sp>
      <p:sp>
        <p:nvSpPr>
          <p:cNvPr id="9" name="Speech Bubble: Rectangle with Corners Rounded 8">
            <a:extLst>
              <a:ext uri="{FF2B5EF4-FFF2-40B4-BE49-F238E27FC236}">
                <a16:creationId xmlns:a16="http://schemas.microsoft.com/office/drawing/2014/main" id="{7FC2D10A-7DAE-45ED-99C3-138573EBAFE5}"/>
              </a:ext>
            </a:extLst>
          </p:cNvPr>
          <p:cNvSpPr/>
          <p:nvPr/>
        </p:nvSpPr>
        <p:spPr bwMode="auto">
          <a:xfrm>
            <a:off x="1651876" y="5407401"/>
            <a:ext cx="2645804" cy="461666"/>
          </a:xfrm>
          <a:prstGeom prst="wedgeRoundRectCallout">
            <a:avLst>
              <a:gd name="adj1" fmla="val -23558"/>
              <a:gd name="adj2" fmla="val -202950"/>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File content</a:t>
            </a:r>
          </a:p>
        </p:txBody>
      </p:sp>
      <p:graphicFrame>
        <p:nvGraphicFramePr>
          <p:cNvPr id="6" name="Diagram 5">
            <a:extLst>
              <a:ext uri="{FF2B5EF4-FFF2-40B4-BE49-F238E27FC236}">
                <a16:creationId xmlns:a16="http://schemas.microsoft.com/office/drawing/2014/main" id="{A74CC2A5-D57B-4225-A36E-2C21EBF7B738}"/>
              </a:ext>
            </a:extLst>
          </p:cNvPr>
          <p:cNvGraphicFramePr/>
          <p:nvPr>
            <p:extLst>
              <p:ext uri="{D42A27DB-BD31-4B8C-83A1-F6EECF244321}">
                <p14:modId xmlns:p14="http://schemas.microsoft.com/office/powerpoint/2010/main" val="3786415952"/>
              </p:ext>
            </p:extLst>
          </p:nvPr>
        </p:nvGraphicFramePr>
        <p:xfrm>
          <a:off x="465401" y="1191685"/>
          <a:ext cx="11500626" cy="12572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462858167"/>
      </p:ext>
    </p:extLst>
  </p:cSld>
  <p:clrMapOvr>
    <a:masterClrMapping/>
  </p:clrMapOvr>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ee the source image">
            <a:extLst>
              <a:ext uri="{FF2B5EF4-FFF2-40B4-BE49-F238E27FC236}">
                <a16:creationId xmlns:a16="http://schemas.microsoft.com/office/drawing/2014/main" id="{B1CB9E61-B1CD-4A8D-8F0E-C7F3F7DC5A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012" r="21977"/>
          <a:stretch/>
        </p:blipFill>
        <p:spPr bwMode="auto">
          <a:xfrm>
            <a:off x="537883" y="125443"/>
            <a:ext cx="3307976" cy="38682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9CB3272-FCD2-49F5-8DF6-568DDC196E42}"/>
              </a:ext>
            </a:extLst>
          </p:cNvPr>
          <p:cNvPicPr>
            <a:picLocks noChangeAspect="1"/>
          </p:cNvPicPr>
          <p:nvPr/>
        </p:nvPicPr>
        <p:blipFill>
          <a:blip r:embed="rId4"/>
          <a:stretch>
            <a:fillRect/>
          </a:stretch>
        </p:blipFill>
        <p:spPr>
          <a:xfrm>
            <a:off x="4114800" y="137160"/>
            <a:ext cx="7826418" cy="6607113"/>
          </a:xfrm>
          <a:prstGeom prst="rect">
            <a:avLst/>
          </a:prstGeom>
        </p:spPr>
      </p:pic>
    </p:spTree>
    <p:extLst>
      <p:ext uri="{BB962C8B-B14F-4D97-AF65-F5344CB8AC3E}">
        <p14:creationId xmlns:p14="http://schemas.microsoft.com/office/powerpoint/2010/main" val="2819261708"/>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cs typeface="Segoe UI"/>
              </a:rPr>
              <a:t>Working with Remote Repositories</a:t>
            </a:r>
            <a:endParaRPr lang="en-US"/>
          </a:p>
        </p:txBody>
      </p:sp>
    </p:spTree>
    <p:custDataLst>
      <p:tags r:id="rId1"/>
    </p:custDataLst>
    <p:extLst>
      <p:ext uri="{BB962C8B-B14F-4D97-AF65-F5344CB8AC3E}">
        <p14:creationId xmlns:p14="http://schemas.microsoft.com/office/powerpoint/2010/main" val="1515139851"/>
      </p:ext>
    </p:extLst>
  </p:cSld>
  <p:clrMapOvr>
    <a:masterClrMapping/>
  </p:clrMapOvr>
  <p:transition spd="slow"/>
</p:sld>
</file>

<file path=ppt/slides/slide2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Remote Repository Overview</a:t>
            </a:r>
          </a:p>
        </p:txBody>
      </p:sp>
      <p:graphicFrame>
        <p:nvGraphicFramePr>
          <p:cNvPr id="9" name="Text Placeholder 4">
            <a:extLst>
              <a:ext uri="{FF2B5EF4-FFF2-40B4-BE49-F238E27FC236}">
                <a16:creationId xmlns:a16="http://schemas.microsoft.com/office/drawing/2014/main" id="{4E15B5D6-0673-4365-B6C9-E2855129C6C1}"/>
              </a:ext>
            </a:extLst>
          </p:cNvPr>
          <p:cNvGraphicFramePr>
            <a:graphicFrameLocks noGrp="1"/>
          </p:cNvGraphicFramePr>
          <p:nvPr>
            <p:ph sz="quarter" idx="13"/>
            <p:extLst>
              <p:ext uri="{D42A27DB-BD31-4B8C-83A1-F6EECF244321}">
                <p14:modId xmlns:p14="http://schemas.microsoft.com/office/powerpoint/2010/main" val="2398105019"/>
              </p:ext>
            </p:extLst>
          </p:nvPr>
        </p:nvGraphicFramePr>
        <p:xfrm>
          <a:off x="615881" y="914400"/>
          <a:ext cx="11142111" cy="55360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647186436"/>
      </p:ext>
    </p:extLst>
  </p:cSld>
  <p:clrMapOvr>
    <a:masterClrMapping/>
  </p:clrMapOvr>
  <p:transition spd="slow"/>
  <p:extLst>
    <p:ext uri="{6950BFC3-D8DA-4A85-94F7-54DA5524770B}">
      <p188:commentRel xmlns:p188="http://schemas.microsoft.com/office/powerpoint/2018/8/main" r:id="rId4"/>
    </p:ext>
  </p:extLst>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5807E4-38D4-4278-9B9E-286F7F89CC66}"/>
              </a:ext>
            </a:extLst>
          </p:cNvPr>
          <p:cNvSpPr>
            <a:spLocks noGrp="1"/>
          </p:cNvSpPr>
          <p:nvPr>
            <p:ph type="title"/>
          </p:nvPr>
        </p:nvSpPr>
        <p:spPr/>
        <p:txBody>
          <a:bodyPr/>
          <a:lstStyle/>
          <a:p>
            <a:r>
              <a:rPr lang="en-US"/>
              <a:t>Git Process </a:t>
            </a:r>
          </a:p>
        </p:txBody>
      </p:sp>
      <p:graphicFrame>
        <p:nvGraphicFramePr>
          <p:cNvPr id="4" name="Diagram 3">
            <a:extLst>
              <a:ext uri="{FF2B5EF4-FFF2-40B4-BE49-F238E27FC236}">
                <a16:creationId xmlns:a16="http://schemas.microsoft.com/office/drawing/2014/main" id="{8B2AB052-3209-4C7E-B6B4-9AB421354992}"/>
              </a:ext>
            </a:extLst>
          </p:cNvPr>
          <p:cNvGraphicFramePr/>
          <p:nvPr>
            <p:extLst>
              <p:ext uri="{D42A27DB-BD31-4B8C-83A1-F6EECF244321}">
                <p14:modId xmlns:p14="http://schemas.microsoft.com/office/powerpoint/2010/main" val="443328547"/>
              </p:ext>
            </p:extLst>
          </p:nvPr>
        </p:nvGraphicFramePr>
        <p:xfrm>
          <a:off x="640080" y="914400"/>
          <a:ext cx="5577840" cy="56692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Text Placeholder 4">
            <a:extLst>
              <a:ext uri="{FF2B5EF4-FFF2-40B4-BE49-F238E27FC236}">
                <a16:creationId xmlns:a16="http://schemas.microsoft.com/office/drawing/2014/main" id="{7783C770-6205-4D5B-A845-381FDFAC6C94}"/>
              </a:ext>
            </a:extLst>
          </p:cNvPr>
          <p:cNvGraphicFramePr>
            <a:graphicFrameLocks noGrp="1"/>
          </p:cNvGraphicFramePr>
          <p:nvPr>
            <p:ph sz="quarter" idx="13"/>
            <p:extLst>
              <p:ext uri="{D42A27DB-BD31-4B8C-83A1-F6EECF244321}">
                <p14:modId xmlns:p14="http://schemas.microsoft.com/office/powerpoint/2010/main" val="54373619"/>
              </p:ext>
            </p:extLst>
          </p:nvPr>
        </p:nvGraphicFramePr>
        <p:xfrm>
          <a:off x="6492240" y="914400"/>
          <a:ext cx="5486400" cy="566928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1602068736"/>
      </p:ext>
    </p:extLst>
  </p:cSld>
  <p:clrMapOvr>
    <a:masterClrMapping/>
  </p:clrMapOvr>
  <p:transition spd="slow"/>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2C87F-A94F-4D57-BE3D-E188B69E3BAD}"/>
              </a:ext>
            </a:extLst>
          </p:cNvPr>
          <p:cNvSpPr>
            <a:spLocks noGrp="1"/>
          </p:cNvSpPr>
          <p:nvPr>
            <p:ph type="title"/>
          </p:nvPr>
        </p:nvSpPr>
        <p:spPr/>
        <p:txBody>
          <a:bodyPr/>
          <a:lstStyle/>
          <a:p>
            <a:r>
              <a:rPr lang="en-US">
                <a:cs typeface="Segoe UI"/>
              </a:rPr>
              <a:t>Push</a:t>
            </a:r>
            <a:endParaRPr lang="en-US"/>
          </a:p>
        </p:txBody>
      </p:sp>
      <p:sp>
        <p:nvSpPr>
          <p:cNvPr id="6" name="Code Box">
            <a:extLst>
              <a:ext uri="{FF2B5EF4-FFF2-40B4-BE49-F238E27FC236}">
                <a16:creationId xmlns:a16="http://schemas.microsoft.com/office/drawing/2014/main" id="{57F21D56-4AF5-4BA9-830A-68C97D8DA718}"/>
              </a:ext>
            </a:extLst>
          </p:cNvPr>
          <p:cNvSpPr/>
          <p:nvPr>
            <p:custDataLst>
              <p:tags r:id="rId2"/>
            </p:custDataLst>
          </p:nvPr>
        </p:nvSpPr>
        <p:spPr>
          <a:xfrm>
            <a:off x="640080" y="1005840"/>
            <a:ext cx="10972800" cy="5486400"/>
          </a:xfrm>
          <a:prstGeom prst="rect">
            <a:avLst/>
          </a:prstGeom>
          <a:solidFill>
            <a:srgbClr val="012456"/>
          </a:solidFill>
        </p:spPr>
        <p:txBody>
          <a:bodyPr wrap="square" tIns="91440" bIns="91440" anchor="t">
            <a:noAutofit/>
          </a:bodyPr>
          <a:lstStyle/>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status</a:t>
            </a:r>
          </a:p>
          <a:p>
            <a:r>
              <a:rPr lang="en-US" sz="1800">
                <a:solidFill>
                  <a:srgbClr val="F5F5F5"/>
                </a:solidFill>
                <a:latin typeface="Lucida Console" panose="020B0609040504020204" pitchFamily="49" charset="0"/>
              </a:rPr>
              <a:t>On branch main</a:t>
            </a:r>
          </a:p>
          <a:p>
            <a:r>
              <a:rPr lang="en-US" sz="1800">
                <a:solidFill>
                  <a:srgbClr val="F5F5F5"/>
                </a:solidFill>
                <a:latin typeface="Lucida Console" panose="020B0609040504020204" pitchFamily="49" charset="0"/>
              </a:rPr>
              <a:t>Your branch is ahead of 'origin/main' by 3 commits.</a:t>
            </a:r>
          </a:p>
          <a:p>
            <a:r>
              <a:rPr lang="en-US" sz="1800">
                <a:solidFill>
                  <a:srgbClr val="F5F5F5"/>
                </a:solidFill>
                <a:latin typeface="Lucida Console" panose="020B0609040504020204" pitchFamily="49" charset="0"/>
              </a:rPr>
              <a:t>  (use "git push" to publish your local commits)</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nothing to commit, working tree clean</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push</a:t>
            </a:r>
          </a:p>
          <a:p>
            <a:r>
              <a:rPr lang="en-US" sz="1800">
                <a:solidFill>
                  <a:srgbClr val="F5F5F5"/>
                </a:solidFill>
                <a:latin typeface="Lucida Console" panose="020B0609040504020204" pitchFamily="49" charset="0"/>
              </a:rPr>
              <a:t>Enumerating objects: 11, done.</a:t>
            </a:r>
          </a:p>
          <a:p>
            <a:r>
              <a:rPr lang="en-US" sz="1800">
                <a:solidFill>
                  <a:srgbClr val="F5F5F5"/>
                </a:solidFill>
                <a:latin typeface="Lucida Console" panose="020B0609040504020204" pitchFamily="49" charset="0"/>
              </a:rPr>
              <a:t>Counting objects: 100% (11/11), done.</a:t>
            </a:r>
          </a:p>
          <a:p>
            <a:r>
              <a:rPr lang="en-US" sz="1800">
                <a:solidFill>
                  <a:srgbClr val="F5F5F5"/>
                </a:solidFill>
                <a:latin typeface="Lucida Console" panose="020B0609040504020204" pitchFamily="49" charset="0"/>
              </a:rPr>
              <a:t>Delta compression using up to 16 threads</a:t>
            </a:r>
          </a:p>
          <a:p>
            <a:r>
              <a:rPr lang="en-US" sz="1800">
                <a:solidFill>
                  <a:srgbClr val="F5F5F5"/>
                </a:solidFill>
                <a:latin typeface="Lucida Console" panose="020B0609040504020204" pitchFamily="49" charset="0"/>
              </a:rPr>
              <a:t>Compressing objects: 100% (8/8), done.</a:t>
            </a:r>
          </a:p>
          <a:p>
            <a:r>
              <a:rPr lang="en-US" sz="1800">
                <a:solidFill>
                  <a:srgbClr val="F5F5F5"/>
                </a:solidFill>
                <a:latin typeface="Lucida Console" panose="020B0609040504020204" pitchFamily="49" charset="0"/>
              </a:rPr>
              <a:t>Writing objects: 100% (9/9), 792 bytes | 792.00 KiB/s, done.</a:t>
            </a:r>
          </a:p>
          <a:p>
            <a:r>
              <a:rPr lang="en-US" sz="1800">
                <a:solidFill>
                  <a:srgbClr val="F5F5F5"/>
                </a:solidFill>
                <a:latin typeface="Lucida Console" panose="020B0609040504020204" pitchFamily="49" charset="0"/>
              </a:rPr>
              <a:t>Total 9 (delta 5), reused 0 (delta 0), pack-reused 0</a:t>
            </a:r>
          </a:p>
          <a:p>
            <a:r>
              <a:rPr lang="en-US" sz="1800">
                <a:solidFill>
                  <a:srgbClr val="F5F5F5"/>
                </a:solidFill>
                <a:latin typeface="Lucida Console" panose="020B0609040504020204" pitchFamily="49" charset="0"/>
              </a:rPr>
              <a:t>remote: Resolving deltas: 100% (5/5), completed with 2 local objects.</a:t>
            </a:r>
          </a:p>
          <a:p>
            <a:r>
              <a:rPr lang="en-US" sz="1800">
                <a:solidFill>
                  <a:srgbClr val="F5F5F5"/>
                </a:solidFill>
                <a:latin typeface="Lucida Console" panose="020B0609040504020204" pitchFamily="49" charset="0"/>
              </a:rPr>
              <a:t>To https://github.com/Sambardo/DemoRepo.git</a:t>
            </a:r>
          </a:p>
          <a:p>
            <a:r>
              <a:rPr lang="en-US" sz="1800">
                <a:solidFill>
                  <a:srgbClr val="F5F5F5"/>
                </a:solidFill>
                <a:latin typeface="Lucida Console" panose="020B0609040504020204" pitchFamily="49" charset="0"/>
              </a:rPr>
              <a:t>   5d91da5..48f68d7  main -&gt; main</a:t>
            </a:r>
          </a:p>
        </p:txBody>
      </p:sp>
      <p:sp>
        <p:nvSpPr>
          <p:cNvPr id="2" name="Rectangle 1">
            <a:extLst>
              <a:ext uri="{FF2B5EF4-FFF2-40B4-BE49-F238E27FC236}">
                <a16:creationId xmlns:a16="http://schemas.microsoft.com/office/drawing/2014/main" id="{AE0A7C21-C970-4D3B-BB83-2B5A9E9C7D5E}"/>
              </a:ext>
            </a:extLst>
          </p:cNvPr>
          <p:cNvSpPr/>
          <p:nvPr/>
        </p:nvSpPr>
        <p:spPr bwMode="auto">
          <a:xfrm>
            <a:off x="640080" y="1645920"/>
            <a:ext cx="7132320" cy="274320"/>
          </a:xfrm>
          <a:prstGeom prst="rect">
            <a:avLst/>
          </a:pr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336824456"/>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2C87F-A94F-4D57-BE3D-E188B69E3BAD}"/>
              </a:ext>
            </a:extLst>
          </p:cNvPr>
          <p:cNvSpPr>
            <a:spLocks noGrp="1"/>
          </p:cNvSpPr>
          <p:nvPr>
            <p:ph type="title"/>
          </p:nvPr>
        </p:nvSpPr>
        <p:spPr/>
        <p:txBody>
          <a:bodyPr/>
          <a:lstStyle/>
          <a:p>
            <a:r>
              <a:rPr lang="en-US">
                <a:cs typeface="Segoe UI"/>
              </a:rPr>
              <a:t>Pull</a:t>
            </a:r>
            <a:endParaRPr lang="en-US"/>
          </a:p>
        </p:txBody>
      </p:sp>
      <p:sp>
        <p:nvSpPr>
          <p:cNvPr id="6" name="Code Box">
            <a:extLst>
              <a:ext uri="{FF2B5EF4-FFF2-40B4-BE49-F238E27FC236}">
                <a16:creationId xmlns:a16="http://schemas.microsoft.com/office/drawing/2014/main" id="{57F21D56-4AF5-4BA9-830A-68C97D8DA718}"/>
              </a:ext>
            </a:extLst>
          </p:cNvPr>
          <p:cNvSpPr/>
          <p:nvPr>
            <p:custDataLst>
              <p:tags r:id="rId2"/>
            </p:custDataLst>
          </p:nvPr>
        </p:nvSpPr>
        <p:spPr>
          <a:xfrm>
            <a:off x="640080" y="1005840"/>
            <a:ext cx="10972800" cy="5486400"/>
          </a:xfrm>
          <a:prstGeom prst="rect">
            <a:avLst/>
          </a:prstGeom>
          <a:solidFill>
            <a:srgbClr val="012456"/>
          </a:solidFill>
        </p:spPr>
        <p:txBody>
          <a:bodyPr wrap="square" tIns="91440" bIns="91440" anchor="t">
            <a:noAutofit/>
          </a:bodyPr>
          <a:lstStyle/>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fetch</a:t>
            </a:r>
          </a:p>
          <a:p>
            <a:r>
              <a:rPr lang="en-US" sz="1800">
                <a:solidFill>
                  <a:srgbClr val="F5F5F5"/>
                </a:solidFill>
                <a:latin typeface="Lucida Console" panose="020B0609040504020204" pitchFamily="49" charset="0"/>
              </a:rPr>
              <a:t>remote: Enumerating objects: 5, done.</a:t>
            </a:r>
          </a:p>
          <a:p>
            <a:r>
              <a:rPr lang="en-US" sz="1800">
                <a:solidFill>
                  <a:srgbClr val="F5F5F5"/>
                </a:solidFill>
                <a:latin typeface="Lucida Console" panose="020B0609040504020204" pitchFamily="49" charset="0"/>
              </a:rPr>
              <a:t>remote: Counting objects: 100% (5/5), done.</a:t>
            </a:r>
          </a:p>
          <a:p>
            <a:r>
              <a:rPr lang="en-US" sz="1800">
                <a:solidFill>
                  <a:srgbClr val="F5F5F5"/>
                </a:solidFill>
                <a:latin typeface="Lucida Console" panose="020B0609040504020204" pitchFamily="49" charset="0"/>
              </a:rPr>
              <a:t>remote: Compressing objects: 100% (2/2), done.</a:t>
            </a:r>
          </a:p>
          <a:p>
            <a:r>
              <a:rPr lang="en-US" sz="1800">
                <a:solidFill>
                  <a:srgbClr val="F5F5F5"/>
                </a:solidFill>
                <a:latin typeface="Lucida Console" panose="020B0609040504020204" pitchFamily="49" charset="0"/>
              </a:rPr>
              <a:t>remote: Total 3 (delta 1), reused 0 (delta 0), pack-reused 0</a:t>
            </a:r>
          </a:p>
          <a:p>
            <a:r>
              <a:rPr lang="en-US" sz="1800">
                <a:solidFill>
                  <a:srgbClr val="F5F5F5"/>
                </a:solidFill>
                <a:latin typeface="Lucida Console" panose="020B0609040504020204" pitchFamily="49" charset="0"/>
              </a:rPr>
              <a:t>Unpacking objects: 100% (3/3), 650 bytes | 8.00 KiB/s, done.</a:t>
            </a:r>
          </a:p>
          <a:p>
            <a:r>
              <a:rPr lang="en-US" sz="1800">
                <a:solidFill>
                  <a:srgbClr val="F5F5F5"/>
                </a:solidFill>
                <a:latin typeface="Lucida Console" panose="020B0609040504020204" pitchFamily="49" charset="0"/>
              </a:rPr>
              <a:t>From https://github.com/Sambardo/DemoRepo</a:t>
            </a:r>
          </a:p>
          <a:p>
            <a:r>
              <a:rPr lang="en-US" sz="1800">
                <a:solidFill>
                  <a:srgbClr val="F5F5F5"/>
                </a:solidFill>
                <a:latin typeface="Lucida Console" panose="020B0609040504020204" pitchFamily="49" charset="0"/>
              </a:rPr>
              <a:t>   48f68d7..74264e7  main       -&gt; origin/main</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status</a:t>
            </a:r>
          </a:p>
          <a:p>
            <a:r>
              <a:rPr lang="en-US" sz="1800">
                <a:solidFill>
                  <a:srgbClr val="F5F5F5"/>
                </a:solidFill>
                <a:latin typeface="Lucida Console" panose="020B0609040504020204" pitchFamily="49" charset="0"/>
              </a:rPr>
              <a:t>On branch main</a:t>
            </a:r>
          </a:p>
          <a:p>
            <a:r>
              <a:rPr lang="en-US" sz="1800">
                <a:solidFill>
                  <a:srgbClr val="F5F5F5"/>
                </a:solidFill>
                <a:latin typeface="Lucida Console" panose="020B0609040504020204" pitchFamily="49" charset="0"/>
              </a:rPr>
              <a:t>Your branch is behind 'origin/main' by 1 commit, and can be fast-forwarded.</a:t>
            </a:r>
          </a:p>
          <a:p>
            <a:r>
              <a:rPr lang="en-US" sz="1800">
                <a:solidFill>
                  <a:srgbClr val="F5F5F5"/>
                </a:solidFill>
                <a:latin typeface="Lucida Console" panose="020B0609040504020204" pitchFamily="49" charset="0"/>
              </a:rPr>
              <a:t>  (use "git pull" to update your local branch)</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pull</a:t>
            </a:r>
          </a:p>
          <a:p>
            <a:r>
              <a:rPr lang="en-US" sz="1800">
                <a:solidFill>
                  <a:srgbClr val="F5F5F5"/>
                </a:solidFill>
                <a:latin typeface="Lucida Console" panose="020B0609040504020204" pitchFamily="49" charset="0"/>
              </a:rPr>
              <a:t>Updating 48f68d7..74264e7</a:t>
            </a:r>
          </a:p>
          <a:p>
            <a:r>
              <a:rPr lang="en-US" sz="1800">
                <a:solidFill>
                  <a:srgbClr val="F5F5F5"/>
                </a:solidFill>
                <a:latin typeface="Lucida Console" panose="020B0609040504020204" pitchFamily="49" charset="0"/>
              </a:rPr>
              <a:t>Fast-forward</a:t>
            </a:r>
          </a:p>
          <a:p>
            <a:r>
              <a:rPr lang="en-US" sz="1800">
                <a:solidFill>
                  <a:srgbClr val="F5F5F5"/>
                </a:solidFill>
                <a:latin typeface="Lucida Console" panose="020B0609040504020204" pitchFamily="49" charset="0"/>
              </a:rPr>
              <a:t> SomeTestFile.txt | 2 +-</a:t>
            </a:r>
          </a:p>
          <a:p>
            <a:r>
              <a:rPr lang="en-US" sz="1800">
                <a:solidFill>
                  <a:srgbClr val="F5F5F5"/>
                </a:solidFill>
                <a:latin typeface="Lucida Console" panose="020B0609040504020204" pitchFamily="49" charset="0"/>
              </a:rPr>
              <a:t> 1 file changed, 1 insertion(+), 1 deletion(-)</a:t>
            </a:r>
          </a:p>
        </p:txBody>
      </p:sp>
      <p:sp>
        <p:nvSpPr>
          <p:cNvPr id="5" name="Rectangle 4">
            <a:extLst>
              <a:ext uri="{FF2B5EF4-FFF2-40B4-BE49-F238E27FC236}">
                <a16:creationId xmlns:a16="http://schemas.microsoft.com/office/drawing/2014/main" id="{AE438A98-FC77-47DC-A5A4-FCED999E84F2}"/>
              </a:ext>
            </a:extLst>
          </p:cNvPr>
          <p:cNvSpPr/>
          <p:nvPr/>
        </p:nvSpPr>
        <p:spPr bwMode="auto">
          <a:xfrm>
            <a:off x="640080" y="4114800"/>
            <a:ext cx="10424160" cy="274320"/>
          </a:xfrm>
          <a:prstGeom prst="rect">
            <a:avLst/>
          </a:pr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Speech Bubble: Rectangle with Corners Rounded 6">
            <a:extLst>
              <a:ext uri="{FF2B5EF4-FFF2-40B4-BE49-F238E27FC236}">
                <a16:creationId xmlns:a16="http://schemas.microsoft.com/office/drawing/2014/main" id="{2285671B-5B00-4587-BEA9-3A39D9BDB418}"/>
              </a:ext>
            </a:extLst>
          </p:cNvPr>
          <p:cNvSpPr/>
          <p:nvPr/>
        </p:nvSpPr>
        <p:spPr bwMode="auto">
          <a:xfrm>
            <a:off x="8046720" y="822960"/>
            <a:ext cx="3657600" cy="914400"/>
          </a:xfrm>
          <a:prstGeom prst="wedgeRoundRectCallout">
            <a:avLst>
              <a:gd name="adj1" fmla="val -196276"/>
              <a:gd name="adj2" fmla="val -3333"/>
              <a:gd name="adj3" fmla="val 16667"/>
            </a:avLst>
          </a:prstGeom>
          <a:solidFill>
            <a:schemeClr val="accent5">
              <a:lumMod val="75000"/>
            </a:schemeClr>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Fetch</a:t>
            </a:r>
            <a:r>
              <a:rPr lang="en-US" sz="2000">
                <a:gradFill>
                  <a:gsLst>
                    <a:gs pos="0">
                      <a:srgbClr val="FFFFFF"/>
                    </a:gs>
                    <a:gs pos="100000">
                      <a:srgbClr val="FFFFFF"/>
                    </a:gs>
                  </a:gsLst>
                  <a:lin ang="5400000" scaled="0"/>
                </a:gradFill>
                <a:ea typeface="Segoe UI" pitchFamily="34" charset="0"/>
                <a:cs typeface="Segoe UI" pitchFamily="34" charset="0"/>
              </a:rPr>
              <a:t> is used to check what changes happened remotely </a:t>
            </a:r>
          </a:p>
        </p:txBody>
      </p:sp>
    </p:spTree>
    <p:custDataLst>
      <p:tags r:id="rId1"/>
    </p:custDataLst>
    <p:extLst>
      <p:ext uri="{BB962C8B-B14F-4D97-AF65-F5344CB8AC3E}">
        <p14:creationId xmlns:p14="http://schemas.microsoft.com/office/powerpoint/2010/main" val="3518894022"/>
      </p:ext>
    </p:extLst>
  </p:cSld>
  <p:clrMapOvr>
    <a:masterClrMapping/>
  </p:clrMapOvr>
  <p:transition spd="slow"/>
</p:sld>
</file>

<file path=ppt/slides/slide26.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2C87F-A94F-4D57-BE3D-E188B69E3BAD}"/>
              </a:ext>
            </a:extLst>
          </p:cNvPr>
          <p:cNvSpPr>
            <a:spLocks noGrp="1"/>
          </p:cNvSpPr>
          <p:nvPr>
            <p:ph type="title"/>
          </p:nvPr>
        </p:nvSpPr>
        <p:spPr/>
        <p:txBody>
          <a:bodyPr/>
          <a:lstStyle/>
          <a:p>
            <a:r>
              <a:rPr lang="en-US">
                <a:cs typeface="Segoe UI"/>
              </a:rPr>
              <a:t>Conflicts</a:t>
            </a:r>
            <a:endParaRPr lang="en-US"/>
          </a:p>
        </p:txBody>
      </p:sp>
      <p:sp>
        <p:nvSpPr>
          <p:cNvPr id="6" name="Code Box">
            <a:extLst>
              <a:ext uri="{FF2B5EF4-FFF2-40B4-BE49-F238E27FC236}">
                <a16:creationId xmlns:a16="http://schemas.microsoft.com/office/drawing/2014/main" id="{57F21D56-4AF5-4BA9-830A-68C97D8DA718}"/>
              </a:ext>
            </a:extLst>
          </p:cNvPr>
          <p:cNvSpPr/>
          <p:nvPr>
            <p:custDataLst>
              <p:tags r:id="rId2"/>
            </p:custDataLst>
          </p:nvPr>
        </p:nvSpPr>
        <p:spPr>
          <a:xfrm>
            <a:off x="640080" y="1005840"/>
            <a:ext cx="10972800" cy="5486400"/>
          </a:xfrm>
          <a:prstGeom prst="rect">
            <a:avLst/>
          </a:prstGeom>
          <a:solidFill>
            <a:srgbClr val="012456"/>
          </a:solidFill>
        </p:spPr>
        <p:txBody>
          <a:bodyPr wrap="square" tIns="91440" bIns="91440" anchor="t">
            <a:noAutofit/>
          </a:bodyPr>
          <a:lstStyle/>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push</a:t>
            </a:r>
          </a:p>
          <a:p>
            <a:r>
              <a:rPr lang="en-US" sz="1800">
                <a:solidFill>
                  <a:srgbClr val="F5F5F5"/>
                </a:solidFill>
                <a:latin typeface="Lucida Console" panose="020B0609040504020204" pitchFamily="49" charset="0"/>
              </a:rPr>
              <a:t>To https://github.com/Sambardo/DemoRepo.git</a:t>
            </a:r>
          </a:p>
          <a:p>
            <a:r>
              <a:rPr lang="en-US" sz="1800">
                <a:solidFill>
                  <a:srgbClr val="FF0000"/>
                </a:solidFill>
                <a:latin typeface="Lucida Console" panose="020B0609040504020204" pitchFamily="49" charset="0"/>
              </a:rPr>
              <a:t> ! [rejected]        main -&gt; main (fetch first)</a:t>
            </a:r>
          </a:p>
          <a:p>
            <a:r>
              <a:rPr lang="en-US" sz="1800">
                <a:solidFill>
                  <a:srgbClr val="FF0000"/>
                </a:solidFill>
                <a:latin typeface="Lucida Console" panose="020B0609040504020204" pitchFamily="49" charset="0"/>
              </a:rPr>
              <a:t>error: failed to push some refs to 'https://github.com/</a:t>
            </a:r>
            <a:r>
              <a:rPr lang="en-US" sz="1800" err="1">
                <a:solidFill>
                  <a:srgbClr val="FF0000"/>
                </a:solidFill>
                <a:latin typeface="Lucida Console" panose="020B0609040504020204" pitchFamily="49" charset="0"/>
              </a:rPr>
              <a:t>Sambardo</a:t>
            </a:r>
            <a:r>
              <a:rPr lang="en-US" sz="1800">
                <a:solidFill>
                  <a:srgbClr val="FF0000"/>
                </a:solidFill>
                <a:latin typeface="Lucida Console" panose="020B0609040504020204" pitchFamily="49" charset="0"/>
              </a:rPr>
              <a:t>/</a:t>
            </a:r>
            <a:r>
              <a:rPr lang="en-US" sz="1800" err="1">
                <a:solidFill>
                  <a:srgbClr val="FF0000"/>
                </a:solidFill>
                <a:latin typeface="Lucida Console" panose="020B0609040504020204" pitchFamily="49" charset="0"/>
              </a:rPr>
              <a:t>DemoRepo.git</a:t>
            </a:r>
            <a:r>
              <a:rPr lang="en-US" sz="1800">
                <a:solidFill>
                  <a:srgbClr val="FF0000"/>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AU" sz="1800">
                <a:solidFill>
                  <a:srgbClr val="FEF000"/>
                </a:solidFill>
                <a:latin typeface="Lucida Console"/>
              </a:rPr>
              <a:t>git</a:t>
            </a:r>
            <a:r>
              <a:rPr lang="en-US" sz="1800">
                <a:solidFill>
                  <a:srgbClr val="F5F5F5"/>
                </a:solidFill>
                <a:latin typeface="Lucida Console" panose="020B0609040504020204" pitchFamily="49" charset="0"/>
              </a:rPr>
              <a:t> pull</a:t>
            </a:r>
          </a:p>
          <a:p>
            <a:r>
              <a:rPr lang="en-US" sz="1800">
                <a:solidFill>
                  <a:srgbClr val="F5F5F5"/>
                </a:solidFill>
                <a:latin typeface="Lucida Console" panose="020B0609040504020204" pitchFamily="49" charset="0"/>
              </a:rPr>
              <a:t>remote: Enumerating objects: 5, done.</a:t>
            </a:r>
          </a:p>
          <a:p>
            <a:r>
              <a:rPr lang="en-US" sz="1800">
                <a:solidFill>
                  <a:srgbClr val="F5F5F5"/>
                </a:solidFill>
                <a:latin typeface="Lucida Console" panose="020B0609040504020204" pitchFamily="49" charset="0"/>
              </a:rPr>
              <a:t>remote: Counting objects: 100% (5/5), done.</a:t>
            </a:r>
          </a:p>
          <a:p>
            <a:r>
              <a:rPr lang="en-US" sz="1800">
                <a:solidFill>
                  <a:srgbClr val="F5F5F5"/>
                </a:solidFill>
                <a:latin typeface="Lucida Console" panose="020B0609040504020204" pitchFamily="49" charset="0"/>
              </a:rPr>
              <a:t>remote: Compressing objects: 100% (3/3), done.</a:t>
            </a:r>
          </a:p>
          <a:p>
            <a:r>
              <a:rPr lang="en-US" sz="1800">
                <a:solidFill>
                  <a:srgbClr val="F5F5F5"/>
                </a:solidFill>
                <a:latin typeface="Lucida Console" panose="020B0609040504020204" pitchFamily="49" charset="0"/>
              </a:rPr>
              <a:t>remote: Total 3 (delta 1), reused 0 (delta 0), pack-reused 0</a:t>
            </a:r>
          </a:p>
          <a:p>
            <a:r>
              <a:rPr lang="en-US" sz="1800">
                <a:solidFill>
                  <a:srgbClr val="F5F5F5"/>
                </a:solidFill>
                <a:latin typeface="Lucida Console" panose="020B0609040504020204" pitchFamily="49" charset="0"/>
              </a:rPr>
              <a:t>Unpacking objects: 100% (3/3), 676 bytes | 6.00 KiB/s, done.</a:t>
            </a:r>
          </a:p>
          <a:p>
            <a:r>
              <a:rPr lang="en-US" sz="1800">
                <a:solidFill>
                  <a:srgbClr val="F5F5F5"/>
                </a:solidFill>
                <a:latin typeface="Lucida Console" panose="020B0609040504020204" pitchFamily="49" charset="0"/>
              </a:rPr>
              <a:t>From https://github.com/Sambardo/DemoRepo</a:t>
            </a:r>
          </a:p>
          <a:p>
            <a:r>
              <a:rPr lang="en-US" sz="1800">
                <a:solidFill>
                  <a:srgbClr val="F5F5F5"/>
                </a:solidFill>
                <a:latin typeface="Lucida Console" panose="020B0609040504020204" pitchFamily="49" charset="0"/>
              </a:rPr>
              <a:t>   74264e7..ef05d78  main       -&gt; origin/main</a:t>
            </a:r>
          </a:p>
          <a:p>
            <a:r>
              <a:rPr lang="en-US" sz="1800">
                <a:solidFill>
                  <a:srgbClr val="F5F5F5"/>
                </a:solidFill>
                <a:latin typeface="Lucida Console" panose="020B0609040504020204" pitchFamily="49" charset="0"/>
              </a:rPr>
              <a:t>Auto-merging SomeTestFile.txt</a:t>
            </a:r>
          </a:p>
          <a:p>
            <a:r>
              <a:rPr lang="en-US" sz="1800">
                <a:solidFill>
                  <a:srgbClr val="FF0000"/>
                </a:solidFill>
                <a:latin typeface="Lucida Console" panose="020B0609040504020204" pitchFamily="49" charset="0"/>
              </a:rPr>
              <a:t>CONFLICT (content): Merge conflict in SomeTestFile.txt</a:t>
            </a:r>
          </a:p>
          <a:p>
            <a:r>
              <a:rPr lang="en-US" sz="1800">
                <a:solidFill>
                  <a:srgbClr val="F5F5F5"/>
                </a:solidFill>
                <a:latin typeface="Lucida Console" panose="020B0609040504020204" pitchFamily="49" charset="0"/>
              </a:rPr>
              <a:t>Automatic merge failed; fix conflicts and then commit the result.</a:t>
            </a:r>
          </a:p>
          <a:p>
            <a:endParaRPr lang="en-AU"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53140128"/>
      </p:ext>
    </p:extLst>
  </p:cSld>
  <p:clrMapOvr>
    <a:masterClrMapping/>
  </p:clrMapOvr>
  <p:transition spd="slow"/>
  <p:extLst>
    <p:ext uri="{6950BFC3-D8DA-4A85-94F7-54DA5524770B}">
      <p188:commentRel xmlns:p188="http://schemas.microsoft.com/office/powerpoint/2018/8/main" r:id="rId5"/>
    </p:ext>
  </p:extLst>
</p:sld>
</file>

<file path=ppt/slides/slide2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73A3F-6B55-4976-8209-B5EC72D92492}"/>
              </a:ext>
            </a:extLst>
          </p:cNvPr>
          <p:cNvSpPr>
            <a:spLocks noGrp="1"/>
          </p:cNvSpPr>
          <p:nvPr>
            <p:ph type="title"/>
          </p:nvPr>
        </p:nvSpPr>
        <p:spPr/>
        <p:txBody>
          <a:bodyPr/>
          <a:lstStyle/>
          <a:p>
            <a:r>
              <a:rPr lang="en-US"/>
              <a:t>Creating A GitHub Repository</a:t>
            </a:r>
          </a:p>
        </p:txBody>
      </p:sp>
      <p:pic>
        <p:nvPicPr>
          <p:cNvPr id="5" name="Picture 4" descr="Create a repository within GitHub screen shot. ">
            <a:extLst>
              <a:ext uri="{FF2B5EF4-FFF2-40B4-BE49-F238E27FC236}">
                <a16:creationId xmlns:a16="http://schemas.microsoft.com/office/drawing/2014/main" id="{5EF8C301-F75B-44C4-B62F-1BCB37D1F9C5}"/>
              </a:ext>
            </a:extLst>
          </p:cNvPr>
          <p:cNvPicPr>
            <a:picLocks noChangeAspect="1"/>
          </p:cNvPicPr>
          <p:nvPr/>
        </p:nvPicPr>
        <p:blipFill>
          <a:blip r:embed="rId3"/>
          <a:stretch>
            <a:fillRect/>
          </a:stretch>
        </p:blipFill>
        <p:spPr>
          <a:xfrm>
            <a:off x="1427799" y="1007184"/>
            <a:ext cx="3634622" cy="2409825"/>
          </a:xfrm>
          <a:prstGeom prst="rect">
            <a:avLst/>
          </a:prstGeom>
          <a:ln>
            <a:noFill/>
          </a:ln>
          <a:effectLst>
            <a:outerShdw blurRad="292100" dist="139700" dir="2700000" algn="tl" rotWithShape="0">
              <a:srgbClr val="333333">
                <a:alpha val="65000"/>
              </a:srgbClr>
            </a:outerShdw>
          </a:effectLst>
        </p:spPr>
      </p:pic>
      <p:graphicFrame>
        <p:nvGraphicFramePr>
          <p:cNvPr id="11" name="Content Placeholder 10">
            <a:extLst>
              <a:ext uri="{FF2B5EF4-FFF2-40B4-BE49-F238E27FC236}">
                <a16:creationId xmlns:a16="http://schemas.microsoft.com/office/drawing/2014/main" id="{CB78EA1A-6BB5-47FC-B6E6-EA909822053E}"/>
              </a:ext>
            </a:extLst>
          </p:cNvPr>
          <p:cNvGraphicFramePr>
            <a:graphicFrameLocks noGrp="1"/>
          </p:cNvGraphicFramePr>
          <p:nvPr>
            <p:ph sz="quarter" idx="13"/>
            <p:extLst>
              <p:ext uri="{D42A27DB-BD31-4B8C-83A1-F6EECF244321}">
                <p14:modId xmlns:p14="http://schemas.microsoft.com/office/powerpoint/2010/main" val="2710254838"/>
              </p:ext>
            </p:extLst>
          </p:nvPr>
        </p:nvGraphicFramePr>
        <p:xfrm>
          <a:off x="1188720" y="3926967"/>
          <a:ext cx="4114800" cy="2743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a:extLst>
              <a:ext uri="{FF2B5EF4-FFF2-40B4-BE49-F238E27FC236}">
                <a16:creationId xmlns:a16="http://schemas.microsoft.com/office/drawing/2014/main" id="{257A76AD-E9CC-4D78-9682-AAE38A21DF56}"/>
              </a:ext>
            </a:extLst>
          </p:cNvPr>
          <p:cNvPicPr>
            <a:picLocks noChangeAspect="1"/>
          </p:cNvPicPr>
          <p:nvPr/>
        </p:nvPicPr>
        <p:blipFill>
          <a:blip r:embed="rId9"/>
          <a:stretch>
            <a:fillRect/>
          </a:stretch>
        </p:blipFill>
        <p:spPr>
          <a:xfrm>
            <a:off x="6035040" y="822960"/>
            <a:ext cx="5888449" cy="5943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74736108"/>
      </p:ext>
    </p:extLst>
  </p:cSld>
  <p:clrMapOvr>
    <a:masterClrMapping/>
  </p:clrMapOvr>
</p:sld>
</file>

<file path=ppt/slides/slide2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1F800-FEA1-4B03-A95B-91CF17F9B1EC}"/>
              </a:ext>
            </a:extLst>
          </p:cNvPr>
          <p:cNvSpPr>
            <a:spLocks noGrp="1"/>
          </p:cNvSpPr>
          <p:nvPr>
            <p:ph type="title"/>
          </p:nvPr>
        </p:nvSpPr>
        <p:spPr/>
        <p:txBody>
          <a:bodyPr/>
          <a:lstStyle/>
          <a:p>
            <a:r>
              <a:rPr lang="en-US">
                <a:cs typeface="Segoe UI"/>
              </a:rPr>
              <a:t>Cloning Remote Repository</a:t>
            </a:r>
            <a:endParaRPr lang="en-US"/>
          </a:p>
        </p:txBody>
      </p:sp>
      <p:graphicFrame>
        <p:nvGraphicFramePr>
          <p:cNvPr id="6" name="Content Placeholder 5">
            <a:extLst>
              <a:ext uri="{FF2B5EF4-FFF2-40B4-BE49-F238E27FC236}">
                <a16:creationId xmlns:a16="http://schemas.microsoft.com/office/drawing/2014/main" id="{6925F76B-5073-4502-830C-D5242225BC69}"/>
              </a:ext>
            </a:extLst>
          </p:cNvPr>
          <p:cNvGraphicFramePr>
            <a:graphicFrameLocks noGrp="1"/>
          </p:cNvGraphicFramePr>
          <p:nvPr>
            <p:ph sz="quarter" idx="13"/>
            <p:extLst>
              <p:ext uri="{D42A27DB-BD31-4B8C-83A1-F6EECF244321}">
                <p14:modId xmlns:p14="http://schemas.microsoft.com/office/powerpoint/2010/main" val="442371187"/>
              </p:ext>
            </p:extLst>
          </p:nvPr>
        </p:nvGraphicFramePr>
        <p:xfrm>
          <a:off x="563563" y="699246"/>
          <a:ext cx="10880725" cy="447472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Code Box">
            <a:extLst>
              <a:ext uri="{FF2B5EF4-FFF2-40B4-BE49-F238E27FC236}">
                <a16:creationId xmlns:a16="http://schemas.microsoft.com/office/drawing/2014/main" id="{5CAFC0E4-6FC2-4528-8082-DCEFFB4A54DF}"/>
              </a:ext>
            </a:extLst>
          </p:cNvPr>
          <p:cNvSpPr/>
          <p:nvPr>
            <p:custDataLst>
              <p:tags r:id="rId2"/>
            </p:custDataLst>
          </p:nvPr>
        </p:nvSpPr>
        <p:spPr>
          <a:xfrm>
            <a:off x="640080" y="5120640"/>
            <a:ext cx="10972800" cy="914400"/>
          </a:xfrm>
          <a:prstGeom prst="rect">
            <a:avLst/>
          </a:prstGeom>
          <a:solidFill>
            <a:srgbClr val="012456"/>
          </a:solidFill>
        </p:spPr>
        <p:txBody>
          <a:bodyPr wrap="square" tIns="91440" bIns="91440" anchor="t">
            <a:noAutofit/>
          </a:bodyPr>
          <a:lstStyle/>
          <a:p>
            <a:r>
              <a:rPr lang="en-AU" sz="2000">
                <a:solidFill>
                  <a:schemeClr val="lt1"/>
                </a:solidFill>
                <a:latin typeface="Lucida Console"/>
              </a:rPr>
              <a:t>PS&gt; </a:t>
            </a:r>
            <a:r>
              <a:rPr lang="en-AU" sz="2000">
                <a:solidFill>
                  <a:srgbClr val="FEF000"/>
                </a:solidFill>
                <a:latin typeface="Lucida Console"/>
              </a:rPr>
              <a:t>git</a:t>
            </a:r>
            <a:r>
              <a:rPr lang="en-AU" sz="2000">
                <a:solidFill>
                  <a:schemeClr val="lt1"/>
                </a:solidFill>
                <a:latin typeface="Lucida Console"/>
              </a:rPr>
              <a:t> clone https://github.com/Sambardo/DemoRepo.git</a:t>
            </a:r>
          </a:p>
          <a:p>
            <a:r>
              <a:rPr lang="en-AU" sz="2000">
                <a:solidFill>
                  <a:schemeClr val="lt1"/>
                </a:solidFill>
                <a:latin typeface="Lucida Console"/>
              </a:rPr>
              <a:t>Cloning into ‘</a:t>
            </a:r>
            <a:r>
              <a:rPr lang="en-AU" sz="2000" err="1">
                <a:solidFill>
                  <a:schemeClr val="lt1"/>
                </a:solidFill>
                <a:latin typeface="Lucida Console"/>
              </a:rPr>
              <a:t>DemoRepo</a:t>
            </a:r>
            <a:r>
              <a:rPr lang="en-AU" sz="2000">
                <a:solidFill>
                  <a:schemeClr val="lt1"/>
                </a:solidFill>
                <a:latin typeface="Lucida Console"/>
              </a:rPr>
              <a:t>’ ...</a:t>
            </a:r>
          </a:p>
          <a:p>
            <a:endParaRPr lang="en-AU" sz="20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602721421"/>
      </p:ext>
    </p:extLst>
  </p:cSld>
  <p:clrMapOvr>
    <a:masterClrMapping/>
  </p:clrMapOvr>
  <p:transition spd="slow"/>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F465-24C2-4CD3-AC1A-A7AF0164D250}"/>
              </a:ext>
            </a:extLst>
          </p:cNvPr>
          <p:cNvSpPr>
            <a:spLocks noGrp="1"/>
          </p:cNvSpPr>
          <p:nvPr>
            <p:ph type="title"/>
          </p:nvPr>
        </p:nvSpPr>
        <p:spPr/>
        <p:txBody>
          <a:bodyPr/>
          <a:lstStyle/>
          <a:p>
            <a:r>
              <a:rPr lang="en-US"/>
              <a:t>Cloning a Repository From GitHub</a:t>
            </a:r>
          </a:p>
        </p:txBody>
      </p:sp>
      <p:pic>
        <p:nvPicPr>
          <p:cNvPr id="6" name="Picture 5">
            <a:extLst>
              <a:ext uri="{FF2B5EF4-FFF2-40B4-BE49-F238E27FC236}">
                <a16:creationId xmlns:a16="http://schemas.microsoft.com/office/drawing/2014/main" id="{0A489338-BA69-423E-A2A9-85E4EE658587}"/>
              </a:ext>
            </a:extLst>
          </p:cNvPr>
          <p:cNvPicPr>
            <a:picLocks noChangeAspect="1"/>
          </p:cNvPicPr>
          <p:nvPr/>
        </p:nvPicPr>
        <p:blipFill>
          <a:blip r:embed="rId4"/>
          <a:stretch>
            <a:fillRect/>
          </a:stretch>
        </p:blipFill>
        <p:spPr>
          <a:xfrm>
            <a:off x="655638" y="962469"/>
            <a:ext cx="8508682" cy="4758433"/>
          </a:xfrm>
          <a:prstGeom prst="rect">
            <a:avLst/>
          </a:prstGeom>
          <a:ln>
            <a:noFill/>
          </a:ln>
          <a:effectLst>
            <a:outerShdw blurRad="292100" dist="139700" dir="2700000" algn="tl" rotWithShape="0">
              <a:srgbClr val="333333">
                <a:alpha val="65000"/>
              </a:srgbClr>
            </a:outerShdw>
          </a:effectLst>
        </p:spPr>
      </p:pic>
      <p:sp>
        <p:nvSpPr>
          <p:cNvPr id="8" name="Code Box">
            <a:extLst>
              <a:ext uri="{FF2B5EF4-FFF2-40B4-BE49-F238E27FC236}">
                <a16:creationId xmlns:a16="http://schemas.microsoft.com/office/drawing/2014/main" id="{F00ADA4F-AE02-45FC-A78E-6DFEE650B447}"/>
              </a:ext>
            </a:extLst>
          </p:cNvPr>
          <p:cNvSpPr/>
          <p:nvPr>
            <p:custDataLst>
              <p:tags r:id="rId1"/>
            </p:custDataLst>
          </p:nvPr>
        </p:nvSpPr>
        <p:spPr>
          <a:xfrm>
            <a:off x="640080" y="5943600"/>
            <a:ext cx="9144000" cy="822960"/>
          </a:xfrm>
          <a:prstGeom prst="rect">
            <a:avLst/>
          </a:prstGeom>
          <a:solidFill>
            <a:srgbClr val="012456"/>
          </a:solidFill>
        </p:spPr>
        <p:txBody>
          <a:bodyPr wrap="square" tIns="91440" bIns="91440" anchor="t">
            <a:noAutofit/>
          </a:bodyPr>
          <a:lstStyle/>
          <a:p>
            <a:r>
              <a:rPr lang="en-AU" sz="2000">
                <a:solidFill>
                  <a:schemeClr val="lt1"/>
                </a:solidFill>
                <a:latin typeface="Lucida Console"/>
              </a:rPr>
              <a:t>PS&gt; </a:t>
            </a:r>
            <a:r>
              <a:rPr lang="en-AU" sz="2000">
                <a:solidFill>
                  <a:srgbClr val="FEF000"/>
                </a:solidFill>
                <a:latin typeface="Lucida Console"/>
              </a:rPr>
              <a:t>git</a:t>
            </a:r>
            <a:r>
              <a:rPr lang="en-AU" sz="2000">
                <a:solidFill>
                  <a:schemeClr val="lt1"/>
                </a:solidFill>
                <a:latin typeface="Lucida Console"/>
              </a:rPr>
              <a:t> clone https://github.com/TonyRad1/MyFirstRepo.git</a:t>
            </a:r>
          </a:p>
          <a:p>
            <a:r>
              <a:rPr lang="en-AU" sz="2000">
                <a:solidFill>
                  <a:schemeClr val="lt1"/>
                </a:solidFill>
                <a:latin typeface="Lucida Console"/>
              </a:rPr>
              <a:t>Cloning into ‘</a:t>
            </a:r>
            <a:r>
              <a:rPr lang="en-AU" sz="2000" err="1">
                <a:solidFill>
                  <a:schemeClr val="lt1"/>
                </a:solidFill>
                <a:latin typeface="Lucida Console"/>
              </a:rPr>
              <a:t>MyFirstRepo</a:t>
            </a:r>
            <a:r>
              <a:rPr lang="en-AU" sz="2000">
                <a:solidFill>
                  <a:schemeClr val="lt1"/>
                </a:solidFill>
                <a:latin typeface="Lucida Console"/>
              </a:rPr>
              <a:t>’ ...</a:t>
            </a:r>
          </a:p>
          <a:p>
            <a:endParaRPr lang="en-AU" sz="2000">
              <a:solidFill>
                <a:srgbClr val="F5F5F5"/>
              </a:solidFill>
              <a:latin typeface="Lucida Console" panose="020B0609040504020204" pitchFamily="49" charset="0"/>
            </a:endParaRPr>
          </a:p>
        </p:txBody>
      </p:sp>
      <p:sp>
        <p:nvSpPr>
          <p:cNvPr id="9" name="Speech Bubble: Rectangle with Corners Rounded 8">
            <a:extLst>
              <a:ext uri="{FF2B5EF4-FFF2-40B4-BE49-F238E27FC236}">
                <a16:creationId xmlns:a16="http://schemas.microsoft.com/office/drawing/2014/main" id="{E1138837-371D-464B-95A6-659D23221209}"/>
              </a:ext>
            </a:extLst>
          </p:cNvPr>
          <p:cNvSpPr/>
          <p:nvPr/>
        </p:nvSpPr>
        <p:spPr bwMode="auto">
          <a:xfrm>
            <a:off x="9479280" y="1229360"/>
            <a:ext cx="2438400" cy="1960880"/>
          </a:xfrm>
          <a:prstGeom prst="wedgeRoundRectCallout">
            <a:avLst>
              <a:gd name="adj1" fmla="val -153224"/>
              <a:gd name="adj2" fmla="val 5324"/>
              <a:gd name="adj3" fmla="val 16667"/>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Clone options show under </a:t>
            </a:r>
            <a:r>
              <a:rPr lang="en-US" sz="2400" b="1">
                <a:gradFill>
                  <a:gsLst>
                    <a:gs pos="0">
                      <a:srgbClr val="FFFFFF"/>
                    </a:gs>
                    <a:gs pos="100000">
                      <a:srgbClr val="FFFFFF"/>
                    </a:gs>
                  </a:gsLst>
                  <a:lin ang="5400000" scaled="0"/>
                </a:gradFill>
                <a:ea typeface="Segoe UI" pitchFamily="34" charset="0"/>
                <a:cs typeface="Segoe UI" pitchFamily="34" charset="0"/>
              </a:rPr>
              <a:t>code</a:t>
            </a:r>
            <a:r>
              <a:rPr lang="en-US" sz="2400">
                <a:gradFill>
                  <a:gsLst>
                    <a:gs pos="0">
                      <a:srgbClr val="FFFFFF"/>
                    </a:gs>
                    <a:gs pos="100000">
                      <a:srgbClr val="FFFFFF"/>
                    </a:gs>
                  </a:gsLst>
                  <a:lin ang="5400000" scaled="0"/>
                </a:gradFill>
                <a:ea typeface="Segoe UI" pitchFamily="34" charset="0"/>
                <a:cs typeface="Segoe UI" pitchFamily="34" charset="0"/>
              </a:rPr>
              <a:t> dropdown</a:t>
            </a:r>
          </a:p>
        </p:txBody>
      </p:sp>
      <p:sp>
        <p:nvSpPr>
          <p:cNvPr id="10" name="Speech Bubble: Rectangle with Corners Rounded 9">
            <a:extLst>
              <a:ext uri="{FF2B5EF4-FFF2-40B4-BE49-F238E27FC236}">
                <a16:creationId xmlns:a16="http://schemas.microsoft.com/office/drawing/2014/main" id="{DD335BBA-213D-465B-8252-E15D3A4C0C47}"/>
              </a:ext>
            </a:extLst>
          </p:cNvPr>
          <p:cNvSpPr/>
          <p:nvPr/>
        </p:nvSpPr>
        <p:spPr bwMode="auto">
          <a:xfrm>
            <a:off x="9479280" y="3412938"/>
            <a:ext cx="2438400" cy="822960"/>
          </a:xfrm>
          <a:prstGeom prst="wedgeRoundRectCallout">
            <a:avLst>
              <a:gd name="adj1" fmla="val -171557"/>
              <a:gd name="adj2" fmla="val -50635"/>
              <a:gd name="adj3" fmla="val 16667"/>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URL</a:t>
            </a:r>
            <a:r>
              <a:rPr lang="en-US" sz="2400">
                <a:gradFill>
                  <a:gsLst>
                    <a:gs pos="0">
                      <a:srgbClr val="FFFFFF"/>
                    </a:gs>
                    <a:gs pos="100000">
                      <a:srgbClr val="FFFFFF"/>
                    </a:gs>
                  </a:gsLst>
                  <a:lin ang="5400000" scaled="0"/>
                </a:gradFill>
                <a:ea typeface="Segoe UI" pitchFamily="34" charset="0"/>
                <a:cs typeface="Segoe UI" pitchFamily="34" charset="0"/>
              </a:rPr>
              <a:t> to clone</a:t>
            </a:r>
          </a:p>
        </p:txBody>
      </p:sp>
    </p:spTree>
    <p:extLst>
      <p:ext uri="{BB962C8B-B14F-4D97-AF65-F5344CB8AC3E}">
        <p14:creationId xmlns:p14="http://schemas.microsoft.com/office/powerpoint/2010/main" val="2727583874"/>
      </p:ext>
    </p:extLst>
  </p:cSld>
  <p:clrMapOvr>
    <a:masterClrMapping/>
  </p:clrMapOvr>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Source Control</a:t>
            </a:r>
          </a:p>
        </p:txBody>
      </p:sp>
    </p:spTree>
    <p:custDataLst>
      <p:tags r:id="rId1"/>
    </p:custDataLst>
    <p:extLst>
      <p:ext uri="{BB962C8B-B14F-4D97-AF65-F5344CB8AC3E}">
        <p14:creationId xmlns:p14="http://schemas.microsoft.com/office/powerpoint/2010/main" val="722356735"/>
      </p:ext>
    </p:extLst>
  </p:cSld>
  <p:clrMapOvr>
    <a:masterClrMapping/>
  </p:clrMapOvr>
  <p:transition spd="slow"/>
</p:sld>
</file>

<file path=ppt/slides/slide3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cs typeface="Segoe UI"/>
              </a:rPr>
              <a:t>Branching and Merging</a:t>
            </a:r>
            <a:endParaRPr lang="en-US"/>
          </a:p>
        </p:txBody>
      </p:sp>
    </p:spTree>
    <p:custDataLst>
      <p:tags r:id="rId1"/>
    </p:custDataLst>
    <p:extLst>
      <p:ext uri="{BB962C8B-B14F-4D97-AF65-F5344CB8AC3E}">
        <p14:creationId xmlns:p14="http://schemas.microsoft.com/office/powerpoint/2010/main" val="908733353"/>
      </p:ext>
    </p:extLst>
  </p:cSld>
  <p:clrMapOvr>
    <a:masterClrMapping/>
  </p:clrMapOvr>
  <p:transition spd="slow"/>
</p:sld>
</file>

<file path=ppt/slides/slide3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Branching and Merging Overview</a:t>
            </a:r>
          </a:p>
        </p:txBody>
      </p:sp>
      <p:graphicFrame>
        <p:nvGraphicFramePr>
          <p:cNvPr id="9" name="Text Placeholder 4">
            <a:extLst>
              <a:ext uri="{FF2B5EF4-FFF2-40B4-BE49-F238E27FC236}">
                <a16:creationId xmlns:a16="http://schemas.microsoft.com/office/drawing/2014/main" id="{4E15B5D6-0673-4365-B6C9-E2855129C6C1}"/>
              </a:ext>
            </a:extLst>
          </p:cNvPr>
          <p:cNvGraphicFramePr>
            <a:graphicFrameLocks noGrp="1"/>
          </p:cNvGraphicFramePr>
          <p:nvPr>
            <p:ph sz="quarter" idx="13"/>
            <p:extLst>
              <p:ext uri="{D42A27DB-BD31-4B8C-83A1-F6EECF244321}">
                <p14:modId xmlns:p14="http://schemas.microsoft.com/office/powerpoint/2010/main" val="3394689887"/>
              </p:ext>
            </p:extLst>
          </p:nvPr>
        </p:nvGraphicFramePr>
        <p:xfrm>
          <a:off x="655637" y="980486"/>
          <a:ext cx="10880725" cy="54401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045087060"/>
      </p:ext>
    </p:extLst>
  </p:cSld>
  <p:clrMapOvr>
    <a:masterClrMapping/>
  </p:clrMapOvr>
  <p:transition spd="slow"/>
</p:sld>
</file>

<file path=ppt/slides/slide3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ext Placeholder 4">
            <a:extLst>
              <a:ext uri="{FF2B5EF4-FFF2-40B4-BE49-F238E27FC236}">
                <a16:creationId xmlns:a16="http://schemas.microsoft.com/office/drawing/2014/main" id="{FAC9B8B5-F7C0-4218-8064-A065140A6E79}"/>
              </a:ext>
            </a:extLst>
          </p:cNvPr>
          <p:cNvGraphicFramePr>
            <a:graphicFrameLocks/>
          </p:cNvGraphicFramePr>
          <p:nvPr>
            <p:extLst>
              <p:ext uri="{D42A27DB-BD31-4B8C-83A1-F6EECF244321}">
                <p14:modId xmlns:p14="http://schemas.microsoft.com/office/powerpoint/2010/main" val="2316499855"/>
              </p:ext>
            </p:extLst>
          </p:nvPr>
        </p:nvGraphicFramePr>
        <p:xfrm>
          <a:off x="655637" y="960609"/>
          <a:ext cx="10880725" cy="5579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ommands</a:t>
            </a:r>
          </a:p>
        </p:txBody>
      </p:sp>
    </p:spTree>
    <p:custDataLst>
      <p:tags r:id="rId1"/>
    </p:custDataLst>
    <p:extLst>
      <p:ext uri="{BB962C8B-B14F-4D97-AF65-F5344CB8AC3E}">
        <p14:creationId xmlns:p14="http://schemas.microsoft.com/office/powerpoint/2010/main" val="1473393101"/>
      </p:ext>
    </p:extLst>
  </p:cSld>
  <p:clrMapOvr>
    <a:masterClrMapping/>
  </p:clrMapOvr>
  <p:transition spd="slow"/>
  <p:extLst>
    <p:ext uri="{6950BFC3-D8DA-4A85-94F7-54DA5524770B}">
      <p188:commentRel xmlns:p188="http://schemas.microsoft.com/office/powerpoint/2018/8/main" r:id="rId4"/>
    </p:ext>
  </p:extLst>
</p:sld>
</file>

<file path=ppt/slides/slide33.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ext Placeholder 4">
            <a:extLst>
              <a:ext uri="{FF2B5EF4-FFF2-40B4-BE49-F238E27FC236}">
                <a16:creationId xmlns:a16="http://schemas.microsoft.com/office/drawing/2014/main" id="{FAC9B8B5-F7C0-4218-8064-A065140A6E79}"/>
              </a:ext>
            </a:extLst>
          </p:cNvPr>
          <p:cNvGraphicFramePr>
            <a:graphicFrameLocks/>
          </p:cNvGraphicFramePr>
          <p:nvPr>
            <p:extLst>
              <p:ext uri="{D42A27DB-BD31-4B8C-83A1-F6EECF244321}">
                <p14:modId xmlns:p14="http://schemas.microsoft.com/office/powerpoint/2010/main" val="673877468"/>
              </p:ext>
            </p:extLst>
          </p:nvPr>
        </p:nvGraphicFramePr>
        <p:xfrm>
          <a:off x="655637" y="821461"/>
          <a:ext cx="10880725" cy="57562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Branch Strategies</a:t>
            </a:r>
          </a:p>
        </p:txBody>
      </p:sp>
    </p:spTree>
    <p:custDataLst>
      <p:tags r:id="rId1"/>
    </p:custDataLst>
    <p:extLst>
      <p:ext uri="{BB962C8B-B14F-4D97-AF65-F5344CB8AC3E}">
        <p14:creationId xmlns:p14="http://schemas.microsoft.com/office/powerpoint/2010/main" val="1470083596"/>
      </p:ext>
    </p:extLst>
  </p:cSld>
  <p:clrMapOvr>
    <a:masterClrMapping/>
  </p:clrMapOvr>
  <p:transition spd="slow"/>
  <p:extLst>
    <p:ext uri="{6950BFC3-D8DA-4A85-94F7-54DA5524770B}">
      <p188:commentRel xmlns:p188="http://schemas.microsoft.com/office/powerpoint/2018/8/main" r:id="rId4"/>
    </p:ext>
  </p:extLst>
</p:sld>
</file>

<file path=ppt/slides/slide34.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p:txBody>
          <a:bodyPr/>
          <a:lstStyle/>
          <a:p>
            <a:r>
              <a:rPr lang="en-US"/>
              <a:t>Diagrams – Dev Branch</a:t>
            </a:r>
          </a:p>
        </p:txBody>
      </p:sp>
      <p:sp>
        <p:nvSpPr>
          <p:cNvPr id="13" name="Speech Bubble: Rectangle 12">
            <a:extLst>
              <a:ext uri="{FF2B5EF4-FFF2-40B4-BE49-F238E27FC236}">
                <a16:creationId xmlns:a16="http://schemas.microsoft.com/office/drawing/2014/main" id="{C90CA1EA-BEB4-49E6-8AB3-AE4F938BF724}"/>
              </a:ext>
            </a:extLst>
          </p:cNvPr>
          <p:cNvSpPr/>
          <p:nvPr/>
        </p:nvSpPr>
        <p:spPr>
          <a:xfrm>
            <a:off x="1482150" y="5376912"/>
            <a:ext cx="3288842" cy="1019594"/>
          </a:xfrm>
          <a:prstGeom prst="wedgeRectCallout">
            <a:avLst>
              <a:gd name="adj1" fmla="val 26546"/>
              <a:gd name="adj2" fmla="val -134842"/>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solidFill>
                  <a:prstClr val="white"/>
                </a:solidFill>
                <a:latin typeface="Segoe UI" panose="020B0502040204020203" pitchFamily="34" charset="0"/>
              </a:rPr>
              <a:t>Dev branch commits for new features</a:t>
            </a:r>
            <a:endParaRPr kumimoji="0" lang="en-US" sz="2400" b="0" i="0" u="none" strike="noStrike" kern="1200" cap="none" spc="0" normalizeH="0" baseline="0" noProof="0">
              <a:ln>
                <a:noFill/>
              </a:ln>
              <a:solidFill>
                <a:prstClr val="white"/>
              </a:solidFill>
              <a:effectLst/>
              <a:uLnTx/>
              <a:uFillTx/>
              <a:latin typeface="Segoe UI" panose="020B0502040204020203" pitchFamily="34" charset="0"/>
            </a:endParaRPr>
          </a:p>
        </p:txBody>
      </p:sp>
      <p:cxnSp>
        <p:nvCxnSpPr>
          <p:cNvPr id="8" name="Straight Arrow Connector 7">
            <a:extLst>
              <a:ext uri="{FF2B5EF4-FFF2-40B4-BE49-F238E27FC236}">
                <a16:creationId xmlns:a16="http://schemas.microsoft.com/office/drawing/2014/main" id="{E08F77A0-9E25-46FE-AFA1-FF4AA40BB856}"/>
              </a:ext>
            </a:extLst>
          </p:cNvPr>
          <p:cNvCxnSpPr/>
          <p:nvPr/>
        </p:nvCxnSpPr>
        <p:spPr>
          <a:xfrm>
            <a:off x="419098" y="3212888"/>
            <a:ext cx="1089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18E381-3F97-4F30-BDFD-7ADB9C1A7E90}"/>
              </a:ext>
            </a:extLst>
          </p:cNvPr>
          <p:cNvCxnSpPr>
            <a:cxnSpLocks/>
          </p:cNvCxnSpPr>
          <p:nvPr/>
        </p:nvCxnSpPr>
        <p:spPr>
          <a:xfrm>
            <a:off x="1714499" y="3212888"/>
            <a:ext cx="1143000" cy="1066910"/>
          </a:xfrm>
          <a:prstGeom prst="line">
            <a:avLst/>
          </a:prstGeom>
          <a:ln w="508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2B0658F-7DFC-4C8F-BAE0-5D0950828929}"/>
              </a:ext>
            </a:extLst>
          </p:cNvPr>
          <p:cNvCxnSpPr>
            <a:cxnSpLocks/>
          </p:cNvCxnSpPr>
          <p:nvPr/>
        </p:nvCxnSpPr>
        <p:spPr>
          <a:xfrm>
            <a:off x="2818209" y="4271243"/>
            <a:ext cx="8503920" cy="47316"/>
          </a:xfrm>
          <a:prstGeom prst="line">
            <a:avLst/>
          </a:prstGeom>
          <a:ln w="508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16005C0-E67C-4098-A87D-A7C77C5A68E4}"/>
              </a:ext>
            </a:extLst>
          </p:cNvPr>
          <p:cNvSpPr txBox="1"/>
          <p:nvPr/>
        </p:nvSpPr>
        <p:spPr>
          <a:xfrm>
            <a:off x="6220664" y="3377924"/>
            <a:ext cx="2871620" cy="664797"/>
          </a:xfrm>
          <a:prstGeom prst="rect">
            <a:avLst/>
          </a:prstGeom>
          <a:noFill/>
        </p:spPr>
        <p:txBody>
          <a:bodyPr wrap="none" lIns="182880" tIns="146304" rIns="182880" bIns="146304" rtlCol="0">
            <a:spAutoFit/>
          </a:bodyPr>
          <a:lstStyle/>
          <a:p>
            <a:pPr lvl="0"/>
            <a:r>
              <a:rPr lang="en-AU" sz="2400">
                <a:solidFill>
                  <a:schemeClr val="accent1"/>
                </a:solidFill>
                <a:latin typeface="Lucida Console"/>
              </a:rPr>
              <a:t>git</a:t>
            </a:r>
            <a:r>
              <a:rPr lang="en-US" sz="2400">
                <a:solidFill>
                  <a:schemeClr val="accent1"/>
                </a:solidFill>
                <a:latin typeface="Lucida Console" panose="020B0609040504020204" pitchFamily="49" charset="0"/>
              </a:rPr>
              <a:t> merge dev</a:t>
            </a:r>
            <a:r>
              <a:rPr lang="en-US" sz="2400">
                <a:solidFill>
                  <a:schemeClr val="accent1"/>
                </a:solidFill>
              </a:rPr>
              <a:t> </a:t>
            </a:r>
            <a:endParaRPr lang="en-US" sz="2400"/>
          </a:p>
        </p:txBody>
      </p:sp>
      <p:cxnSp>
        <p:nvCxnSpPr>
          <p:cNvPr id="17" name="Straight Connector 16">
            <a:extLst>
              <a:ext uri="{FF2B5EF4-FFF2-40B4-BE49-F238E27FC236}">
                <a16:creationId xmlns:a16="http://schemas.microsoft.com/office/drawing/2014/main" id="{FE144206-BBF3-484D-807E-B505C0B88E1C}"/>
              </a:ext>
            </a:extLst>
          </p:cNvPr>
          <p:cNvCxnSpPr>
            <a:cxnSpLocks/>
          </p:cNvCxnSpPr>
          <p:nvPr/>
        </p:nvCxnSpPr>
        <p:spPr>
          <a:xfrm flipV="1">
            <a:off x="6145344" y="3212888"/>
            <a:ext cx="0" cy="1075466"/>
          </a:xfrm>
          <a:prstGeom prst="line">
            <a:avLst/>
          </a:prstGeom>
          <a:ln w="5080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Speech Bubble: Rectangle 18">
            <a:extLst>
              <a:ext uri="{FF2B5EF4-FFF2-40B4-BE49-F238E27FC236}">
                <a16:creationId xmlns:a16="http://schemas.microsoft.com/office/drawing/2014/main" id="{AC11D4B4-5047-4660-BE22-E3445A0E1D58}"/>
              </a:ext>
            </a:extLst>
          </p:cNvPr>
          <p:cNvSpPr/>
          <p:nvPr/>
        </p:nvSpPr>
        <p:spPr>
          <a:xfrm>
            <a:off x="4603339" y="1214220"/>
            <a:ext cx="3053136" cy="1111758"/>
          </a:xfrm>
          <a:prstGeom prst="wedgeRectCallout">
            <a:avLst>
              <a:gd name="adj1" fmla="val 2036"/>
              <a:gd name="adj2" fmla="val 115083"/>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solidFill>
                  <a:prstClr val="white"/>
                </a:solidFill>
                <a:latin typeface="Segoe UI" panose="020B0502040204020203" pitchFamily="34" charset="0"/>
              </a:rPr>
              <a:t>Stable new code merged into main</a:t>
            </a:r>
            <a:endParaRPr kumimoji="0" lang="en-US" sz="2400" b="0" i="0" u="none" strike="noStrike" kern="1200" cap="none" spc="0" normalizeH="0" baseline="0" noProof="0">
              <a:ln>
                <a:noFill/>
              </a:ln>
              <a:solidFill>
                <a:prstClr val="white"/>
              </a:solidFill>
              <a:effectLst/>
              <a:uLnTx/>
              <a:uFillTx/>
              <a:latin typeface="Segoe UI" panose="020B0502040204020203" pitchFamily="34" charset="0"/>
            </a:endParaRPr>
          </a:p>
        </p:txBody>
      </p:sp>
      <p:sp>
        <p:nvSpPr>
          <p:cNvPr id="24" name="TextBox 23">
            <a:extLst>
              <a:ext uri="{FF2B5EF4-FFF2-40B4-BE49-F238E27FC236}">
                <a16:creationId xmlns:a16="http://schemas.microsoft.com/office/drawing/2014/main" id="{E2F2CBF1-DCB2-4E8A-97D4-B353E8917C68}"/>
              </a:ext>
            </a:extLst>
          </p:cNvPr>
          <p:cNvSpPr txBox="1"/>
          <p:nvPr/>
        </p:nvSpPr>
        <p:spPr>
          <a:xfrm>
            <a:off x="238832" y="2597644"/>
            <a:ext cx="1040991" cy="627864"/>
          </a:xfrm>
          <a:prstGeom prst="rect">
            <a:avLst/>
          </a:prstGeom>
          <a:noFill/>
        </p:spPr>
        <p:txBody>
          <a:bodyPr wrap="none" lIns="182880" tIns="146304" rIns="182880" bIns="146304" rtlCol="0">
            <a:spAutoFit/>
          </a:bodyPr>
          <a:lstStyle/>
          <a:p>
            <a:pPr algn="r">
              <a:lnSpc>
                <a:spcPct val="90000"/>
              </a:lnSpc>
              <a:spcAft>
                <a:spcPts val="600"/>
              </a:spcAft>
            </a:pPr>
            <a:r>
              <a:rPr lang="en-US" sz="2400">
                <a:gradFill>
                  <a:gsLst>
                    <a:gs pos="2917">
                      <a:schemeClr val="tx1"/>
                    </a:gs>
                    <a:gs pos="30000">
                      <a:schemeClr val="tx1"/>
                    </a:gs>
                  </a:gsLst>
                  <a:lin ang="5400000" scaled="0"/>
                </a:gradFill>
              </a:rPr>
              <a:t>main</a:t>
            </a:r>
          </a:p>
        </p:txBody>
      </p:sp>
      <p:sp>
        <p:nvSpPr>
          <p:cNvPr id="28" name="TextBox 27">
            <a:extLst>
              <a:ext uri="{FF2B5EF4-FFF2-40B4-BE49-F238E27FC236}">
                <a16:creationId xmlns:a16="http://schemas.microsoft.com/office/drawing/2014/main" id="{AD018412-CBDE-4398-9747-A41E0E3C7007}"/>
              </a:ext>
            </a:extLst>
          </p:cNvPr>
          <p:cNvSpPr txBox="1"/>
          <p:nvPr/>
        </p:nvSpPr>
        <p:spPr>
          <a:xfrm>
            <a:off x="3000952" y="3643378"/>
            <a:ext cx="858248" cy="627864"/>
          </a:xfrm>
          <a:prstGeom prst="rect">
            <a:avLst/>
          </a:prstGeom>
          <a:noFill/>
        </p:spPr>
        <p:txBody>
          <a:bodyPr wrap="none" lIns="182880" tIns="146304" rIns="182880" bIns="146304" rtlCol="0">
            <a:spAutoFit/>
          </a:bodyPr>
          <a:lstStyle/>
          <a:p>
            <a:pPr algn="r">
              <a:lnSpc>
                <a:spcPct val="90000"/>
              </a:lnSpc>
              <a:spcAft>
                <a:spcPts val="600"/>
              </a:spcAft>
            </a:pPr>
            <a:r>
              <a:rPr lang="en-US" sz="2400">
                <a:gradFill>
                  <a:gsLst>
                    <a:gs pos="2917">
                      <a:schemeClr val="tx1"/>
                    </a:gs>
                    <a:gs pos="30000">
                      <a:schemeClr val="tx1"/>
                    </a:gs>
                  </a:gsLst>
                  <a:lin ang="5400000" scaled="0"/>
                </a:gradFill>
              </a:rPr>
              <a:t>dev</a:t>
            </a:r>
          </a:p>
        </p:txBody>
      </p:sp>
      <p:sp>
        <p:nvSpPr>
          <p:cNvPr id="31" name="Speech Bubble: Rectangle 30">
            <a:extLst>
              <a:ext uri="{FF2B5EF4-FFF2-40B4-BE49-F238E27FC236}">
                <a16:creationId xmlns:a16="http://schemas.microsoft.com/office/drawing/2014/main" id="{CEFD42E2-655D-40EC-9E42-3D3B250F5C31}"/>
              </a:ext>
            </a:extLst>
          </p:cNvPr>
          <p:cNvSpPr/>
          <p:nvPr/>
        </p:nvSpPr>
        <p:spPr>
          <a:xfrm>
            <a:off x="7656474" y="5126948"/>
            <a:ext cx="3659225" cy="1044309"/>
          </a:xfrm>
          <a:prstGeom prst="wedgeRectCallout">
            <a:avLst>
              <a:gd name="adj1" fmla="val -22829"/>
              <a:gd name="adj2" fmla="val -122517"/>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solidFill>
                  <a:prstClr val="white"/>
                </a:solidFill>
                <a:latin typeface="Segoe UI" panose="020B0502040204020203" pitchFamily="34" charset="0"/>
              </a:rPr>
              <a:t>Continued development on dev branch</a:t>
            </a:r>
            <a:endParaRPr kumimoji="0" lang="en-US" sz="2400" b="0" i="0" u="none" strike="noStrike" kern="1200" cap="none" spc="0" normalizeH="0" baseline="0" noProof="0">
              <a:ln>
                <a:noFill/>
              </a:ln>
              <a:solidFill>
                <a:prstClr val="white"/>
              </a:solidFill>
              <a:effectLst/>
              <a:uLnTx/>
              <a:uFillTx/>
              <a:latin typeface="Segoe UI" panose="020B0502040204020203" pitchFamily="34" charset="0"/>
            </a:endParaRPr>
          </a:p>
        </p:txBody>
      </p:sp>
      <p:sp>
        <p:nvSpPr>
          <p:cNvPr id="7" name="Oval 6">
            <a:extLst>
              <a:ext uri="{FF2B5EF4-FFF2-40B4-BE49-F238E27FC236}">
                <a16:creationId xmlns:a16="http://schemas.microsoft.com/office/drawing/2014/main" id="{D9C2F83D-6F6E-4B35-868E-D1B928A960DF}"/>
              </a:ext>
            </a:extLst>
          </p:cNvPr>
          <p:cNvSpPr/>
          <p:nvPr/>
        </p:nvSpPr>
        <p:spPr bwMode="auto">
          <a:xfrm>
            <a:off x="1482150" y="2907375"/>
            <a:ext cx="510783" cy="46166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a:t>
            </a:r>
          </a:p>
        </p:txBody>
      </p:sp>
      <p:sp>
        <p:nvSpPr>
          <p:cNvPr id="32" name="Oval 31">
            <a:extLst>
              <a:ext uri="{FF2B5EF4-FFF2-40B4-BE49-F238E27FC236}">
                <a16:creationId xmlns:a16="http://schemas.microsoft.com/office/drawing/2014/main" id="{6D2C98CB-AEA2-4868-9AAF-28AE41D4E806}"/>
              </a:ext>
            </a:extLst>
          </p:cNvPr>
          <p:cNvSpPr/>
          <p:nvPr/>
        </p:nvSpPr>
        <p:spPr bwMode="auto">
          <a:xfrm>
            <a:off x="3743210" y="4064068"/>
            <a:ext cx="510783" cy="46166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B</a:t>
            </a:r>
          </a:p>
        </p:txBody>
      </p:sp>
      <p:sp>
        <p:nvSpPr>
          <p:cNvPr id="33" name="Oval 32">
            <a:extLst>
              <a:ext uri="{FF2B5EF4-FFF2-40B4-BE49-F238E27FC236}">
                <a16:creationId xmlns:a16="http://schemas.microsoft.com/office/drawing/2014/main" id="{D01E1C8F-56C6-44E6-A022-E249DC532CC0}"/>
              </a:ext>
            </a:extLst>
          </p:cNvPr>
          <p:cNvSpPr/>
          <p:nvPr/>
        </p:nvSpPr>
        <p:spPr bwMode="auto">
          <a:xfrm>
            <a:off x="5897378" y="4078121"/>
            <a:ext cx="510783" cy="46166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a:t>
            </a:r>
          </a:p>
        </p:txBody>
      </p:sp>
      <p:sp>
        <p:nvSpPr>
          <p:cNvPr id="34" name="Oval 33">
            <a:extLst>
              <a:ext uri="{FF2B5EF4-FFF2-40B4-BE49-F238E27FC236}">
                <a16:creationId xmlns:a16="http://schemas.microsoft.com/office/drawing/2014/main" id="{1F9C8780-470B-474A-B027-1C4E0C589810}"/>
              </a:ext>
            </a:extLst>
          </p:cNvPr>
          <p:cNvSpPr/>
          <p:nvPr/>
        </p:nvSpPr>
        <p:spPr bwMode="auto">
          <a:xfrm>
            <a:off x="5913365" y="2964886"/>
            <a:ext cx="510783" cy="46166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D</a:t>
            </a:r>
          </a:p>
        </p:txBody>
      </p:sp>
    </p:spTree>
    <p:custDataLst>
      <p:tags r:id="rId1"/>
    </p:custDataLst>
    <p:extLst>
      <p:ext uri="{BB962C8B-B14F-4D97-AF65-F5344CB8AC3E}">
        <p14:creationId xmlns:p14="http://schemas.microsoft.com/office/powerpoint/2010/main" val="3137717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28">
                                            <p:txEl>
                                              <p:pRg st="0" end="0"/>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7">
                                            <p:txEl>
                                              <p:pRg st="0" end="0"/>
                                            </p:txEl>
                                          </p:spTgt>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33"/>
                                        </p:tgtEl>
                                        <p:attrNameLst>
                                          <p:attrName>style.visibility</p:attrName>
                                        </p:attrNameLst>
                                      </p:cBhvr>
                                      <p:to>
                                        <p:strVal val="visible"/>
                                      </p:to>
                                    </p:set>
                                  </p:childTnLst>
                                </p:cTn>
                              </p:par>
                              <p:par>
                                <p:cTn id="32" presetID="10" presetClass="entr" presetSubtype="0" fill="hold"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7" grpId="0" uiExpand="1" build="p"/>
      <p:bldP spid="19" grpId="0" animBg="1"/>
      <p:bldP spid="24" grpId="0" uiExpand="1" build="p"/>
      <p:bldP spid="28" grpId="0" uiExpand="1" build="p"/>
      <p:bldP spid="31" grpId="0" animBg="1"/>
      <p:bldP spid="7" grpId="0" animBg="1"/>
      <p:bldP spid="32" grpId="0" animBg="1"/>
      <p:bldP spid="33" grpId="0" animBg="1"/>
      <p:bldP spid="34" grpId="0" animBg="1"/>
    </p:bldLst>
  </p:timing>
  <p:extLst>
    <p:ext uri="{6950BFC3-D8DA-4A85-94F7-54DA5524770B}">
      <p188:commentRel xmlns:p188="http://schemas.microsoft.com/office/powerpoint/2018/8/main" r:id="rId4"/>
    </p:ext>
  </p:extLst>
</p:sld>
</file>

<file path=ppt/slides/slide35.xml><?xml version="1.0" encoding="utf-8"?>
<p:sld xmlns:a16="http://schemas.microsoft.com/office/drawing/2014/main" xmlns:asvg="http://schemas.microsoft.com/office/drawing/2016/SVG/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953E297-5A01-414A-8EE2-2008302661A0}"/>
              </a:ext>
            </a:extLst>
          </p:cNvPr>
          <p:cNvSpPr/>
          <p:nvPr/>
        </p:nvSpPr>
        <p:spPr bwMode="auto">
          <a:xfrm>
            <a:off x="1485898" y="2043657"/>
            <a:ext cx="10210801" cy="1311165"/>
          </a:xfrm>
          <a:prstGeom prst="rect">
            <a:avLst/>
          </a:prstGeom>
          <a:solidFill>
            <a:schemeClr val="l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ea typeface="Segoe UI" pitchFamily="34" charset="0"/>
                <a:cs typeface="Segoe UI" pitchFamily="34" charset="0"/>
              </a:rPr>
              <a:t>Team A</a:t>
            </a:r>
          </a:p>
        </p:txBody>
      </p:sp>
      <p:sp>
        <p:nvSpPr>
          <p:cNvPr id="22" name="Rectangle 21">
            <a:extLst>
              <a:ext uri="{FF2B5EF4-FFF2-40B4-BE49-F238E27FC236}">
                <a16:creationId xmlns:a16="http://schemas.microsoft.com/office/drawing/2014/main" id="{49694D16-4FFF-4DF1-8DFF-74F8639FC4C3}"/>
              </a:ext>
            </a:extLst>
          </p:cNvPr>
          <p:cNvSpPr/>
          <p:nvPr/>
        </p:nvSpPr>
        <p:spPr bwMode="auto">
          <a:xfrm>
            <a:off x="1485899" y="4206784"/>
            <a:ext cx="10105125" cy="1265110"/>
          </a:xfrm>
          <a:prstGeom prst="rect">
            <a:avLst/>
          </a:prstGeom>
          <a:solidFill>
            <a:srgbClr val="FFB9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ea typeface="Segoe UI" pitchFamily="34" charset="0"/>
                <a:cs typeface="Segoe UI" pitchFamily="34" charset="0"/>
              </a:rPr>
              <a:t>Team B</a:t>
            </a:r>
          </a:p>
        </p:txBody>
      </p:sp>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p:txBody>
          <a:bodyPr/>
          <a:lstStyle/>
          <a:p>
            <a:r>
              <a:rPr lang="en-US"/>
              <a:t>Diagrams – Feature Branches</a:t>
            </a:r>
          </a:p>
        </p:txBody>
      </p:sp>
      <p:sp>
        <p:nvSpPr>
          <p:cNvPr id="12" name="Speech Bubble: Rectangle 11">
            <a:extLst>
              <a:ext uri="{FF2B5EF4-FFF2-40B4-BE49-F238E27FC236}">
                <a16:creationId xmlns:a16="http://schemas.microsoft.com/office/drawing/2014/main" id="{1EE5C80A-18AF-4202-A9E9-7837BE549FE4}"/>
              </a:ext>
            </a:extLst>
          </p:cNvPr>
          <p:cNvSpPr/>
          <p:nvPr/>
        </p:nvSpPr>
        <p:spPr>
          <a:xfrm>
            <a:off x="266699" y="4436635"/>
            <a:ext cx="1098331" cy="1035268"/>
          </a:xfrm>
          <a:prstGeom prst="wedgeRectCallout">
            <a:avLst>
              <a:gd name="adj1" fmla="val -850"/>
              <a:gd name="adj2" fmla="val -103575"/>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Main Branch Commit</a:t>
            </a:r>
          </a:p>
        </p:txBody>
      </p:sp>
      <p:sp>
        <p:nvSpPr>
          <p:cNvPr id="13" name="Speech Bubble: Rectangle 12">
            <a:extLst>
              <a:ext uri="{FF2B5EF4-FFF2-40B4-BE49-F238E27FC236}">
                <a16:creationId xmlns:a16="http://schemas.microsoft.com/office/drawing/2014/main" id="{C90CA1EA-BEB4-49E6-8AB3-AE4F938BF724}"/>
              </a:ext>
            </a:extLst>
          </p:cNvPr>
          <p:cNvSpPr/>
          <p:nvPr/>
        </p:nvSpPr>
        <p:spPr>
          <a:xfrm>
            <a:off x="3827968" y="5690027"/>
            <a:ext cx="1835449" cy="723635"/>
          </a:xfrm>
          <a:prstGeom prst="wedgeRectCallout">
            <a:avLst>
              <a:gd name="adj1" fmla="val 43721"/>
              <a:gd name="adj2" fmla="val -148074"/>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Feature Branch B Commits</a:t>
            </a:r>
          </a:p>
        </p:txBody>
      </p:sp>
      <p:cxnSp>
        <p:nvCxnSpPr>
          <p:cNvPr id="8" name="Straight Arrow Connector 7">
            <a:extLst>
              <a:ext uri="{FF2B5EF4-FFF2-40B4-BE49-F238E27FC236}">
                <a16:creationId xmlns:a16="http://schemas.microsoft.com/office/drawing/2014/main" id="{E08F77A0-9E25-46FE-AFA1-FF4AA40BB856}"/>
              </a:ext>
            </a:extLst>
          </p:cNvPr>
          <p:cNvCxnSpPr/>
          <p:nvPr/>
        </p:nvCxnSpPr>
        <p:spPr>
          <a:xfrm>
            <a:off x="419098" y="3872455"/>
            <a:ext cx="1089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Speech Bubble: Rectangle 13">
            <a:extLst>
              <a:ext uri="{FF2B5EF4-FFF2-40B4-BE49-F238E27FC236}">
                <a16:creationId xmlns:a16="http://schemas.microsoft.com/office/drawing/2014/main" id="{0BCE0F7E-153D-4360-A6B9-CCCD4DE68AE9}"/>
              </a:ext>
            </a:extLst>
          </p:cNvPr>
          <p:cNvSpPr/>
          <p:nvPr/>
        </p:nvSpPr>
        <p:spPr>
          <a:xfrm>
            <a:off x="3827968" y="1222213"/>
            <a:ext cx="1931599"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Feature Branch 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panose="020B0502040204020203" pitchFamily="34" charset="0"/>
              </a:rPr>
              <a:t>Commits</a:t>
            </a:r>
            <a:endParaRPr kumimoji="0" lang="en-US" sz="1800" b="0" i="0" u="none" strike="noStrike" kern="1200" cap="none" spc="0" normalizeH="0" baseline="0" noProof="0">
              <a:ln>
                <a:noFill/>
              </a:ln>
              <a:solidFill>
                <a:prstClr val="white"/>
              </a:solidFill>
              <a:effectLst/>
              <a:uLnTx/>
              <a:uFillTx/>
              <a:latin typeface="Segoe UI" panose="020B0502040204020203" pitchFamily="34" charset="0"/>
            </a:endParaRPr>
          </a:p>
        </p:txBody>
      </p:sp>
      <p:cxnSp>
        <p:nvCxnSpPr>
          <p:cNvPr id="10" name="Straight Connector 9">
            <a:extLst>
              <a:ext uri="{FF2B5EF4-FFF2-40B4-BE49-F238E27FC236}">
                <a16:creationId xmlns:a16="http://schemas.microsoft.com/office/drawing/2014/main" id="{CB3C5D5A-C495-4CBE-B718-6AB09E360CF0}"/>
              </a:ext>
            </a:extLst>
          </p:cNvPr>
          <p:cNvCxnSpPr/>
          <p:nvPr/>
        </p:nvCxnSpPr>
        <p:spPr>
          <a:xfrm flipV="1">
            <a:off x="1714499" y="2577055"/>
            <a:ext cx="1143000" cy="129540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18E381-3F97-4F30-BDFD-7ADB9C1A7E90}"/>
              </a:ext>
            </a:extLst>
          </p:cNvPr>
          <p:cNvCxnSpPr>
            <a:cxnSpLocks/>
          </p:cNvCxnSpPr>
          <p:nvPr/>
        </p:nvCxnSpPr>
        <p:spPr>
          <a:xfrm>
            <a:off x="1714499" y="3872455"/>
            <a:ext cx="1143000" cy="106691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A24C58-DD1B-4E7F-8775-D9BEAC5783A5}"/>
              </a:ext>
            </a:extLst>
          </p:cNvPr>
          <p:cNvCxnSpPr>
            <a:cxnSpLocks/>
          </p:cNvCxnSpPr>
          <p:nvPr/>
        </p:nvCxnSpPr>
        <p:spPr>
          <a:xfrm>
            <a:off x="2857499" y="2584376"/>
            <a:ext cx="4419600" cy="7321"/>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2B0658F-7DFC-4C8F-BAE0-5D0950828929}"/>
              </a:ext>
            </a:extLst>
          </p:cNvPr>
          <p:cNvCxnSpPr>
            <a:cxnSpLocks/>
          </p:cNvCxnSpPr>
          <p:nvPr/>
        </p:nvCxnSpPr>
        <p:spPr>
          <a:xfrm>
            <a:off x="2818209" y="4930810"/>
            <a:ext cx="4916090" cy="17112"/>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FCFA902-1CCC-4E45-B228-A1D51E0D3825}"/>
              </a:ext>
            </a:extLst>
          </p:cNvPr>
          <p:cNvSpPr txBox="1"/>
          <p:nvPr/>
        </p:nvSpPr>
        <p:spPr>
          <a:xfrm>
            <a:off x="4476190" y="2778597"/>
            <a:ext cx="3011017" cy="627864"/>
          </a:xfrm>
          <a:prstGeom prst="rect">
            <a:avLst/>
          </a:prstGeom>
          <a:noFill/>
        </p:spPr>
        <p:txBody>
          <a:bodyPr wrap="none" lIns="182880" tIns="146304" rIns="182880" bIns="146304" rtlCol="0">
            <a:spAutoFit/>
          </a:bodyPr>
          <a:lstStyle/>
          <a:p>
            <a:pPr algn="r">
              <a:lnSpc>
                <a:spcPct val="90000"/>
              </a:lnSpc>
              <a:spcAft>
                <a:spcPts val="600"/>
              </a:spcAft>
            </a:pPr>
            <a:r>
              <a:rPr lang="en-US" sz="2400">
                <a:gradFill>
                  <a:gsLst>
                    <a:gs pos="2917">
                      <a:schemeClr val="tx1"/>
                    </a:gs>
                    <a:gs pos="30000">
                      <a:schemeClr val="tx1"/>
                    </a:gs>
                  </a:gsLst>
                  <a:lin ang="5400000" scaled="0"/>
                </a:gradFill>
              </a:rPr>
              <a:t>git merge </a:t>
            </a:r>
            <a:r>
              <a:rPr lang="en-US" sz="2400" err="1">
                <a:gradFill>
                  <a:gsLst>
                    <a:gs pos="2917">
                      <a:schemeClr val="tx1"/>
                    </a:gs>
                    <a:gs pos="30000">
                      <a:schemeClr val="tx1"/>
                    </a:gs>
                  </a:gsLst>
                  <a:lin ang="5400000" scaled="0"/>
                </a:gradFill>
              </a:rPr>
              <a:t>feature_a</a:t>
            </a:r>
            <a:endParaRPr lang="en-US" sz="2400">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016005C0-E67C-4098-A87D-A7C77C5A68E4}"/>
              </a:ext>
            </a:extLst>
          </p:cNvPr>
          <p:cNvSpPr txBox="1"/>
          <p:nvPr/>
        </p:nvSpPr>
        <p:spPr>
          <a:xfrm>
            <a:off x="5759569" y="4947922"/>
            <a:ext cx="3035062" cy="627864"/>
          </a:xfrm>
          <a:prstGeom prst="rect">
            <a:avLst/>
          </a:prstGeom>
          <a:noFill/>
        </p:spPr>
        <p:txBody>
          <a:bodyPr wrap="none" lIns="182880" tIns="146304" rIns="182880" bIns="146304" rtlCol="0">
            <a:spAutoFit/>
          </a:bodyPr>
          <a:lstStyle/>
          <a:p>
            <a:pPr algn="r">
              <a:lnSpc>
                <a:spcPct val="90000"/>
              </a:lnSpc>
              <a:spcAft>
                <a:spcPts val="600"/>
              </a:spcAft>
            </a:pPr>
            <a:r>
              <a:rPr lang="en-US" sz="2400">
                <a:gradFill>
                  <a:gsLst>
                    <a:gs pos="2917">
                      <a:schemeClr val="tx1"/>
                    </a:gs>
                    <a:gs pos="30000">
                      <a:schemeClr val="tx1"/>
                    </a:gs>
                  </a:gsLst>
                  <a:lin ang="5400000" scaled="0"/>
                </a:gradFill>
              </a:rPr>
              <a:t>git merge </a:t>
            </a:r>
            <a:r>
              <a:rPr lang="en-US" sz="2400" err="1">
                <a:gradFill>
                  <a:gsLst>
                    <a:gs pos="2917">
                      <a:schemeClr val="tx1"/>
                    </a:gs>
                    <a:gs pos="30000">
                      <a:schemeClr val="tx1"/>
                    </a:gs>
                  </a:gsLst>
                  <a:lin ang="5400000" scaled="0"/>
                </a:gradFill>
              </a:rPr>
              <a:t>feature_b</a:t>
            </a:r>
            <a:endParaRPr lang="en-US" sz="2400">
              <a:gradFill>
                <a:gsLst>
                  <a:gs pos="2917">
                    <a:schemeClr val="tx1"/>
                  </a:gs>
                  <a:gs pos="30000">
                    <a:schemeClr val="tx1"/>
                  </a:gs>
                </a:gsLst>
                <a:lin ang="5400000" scaled="0"/>
              </a:gradFill>
            </a:endParaRPr>
          </a:p>
        </p:txBody>
      </p:sp>
      <p:cxnSp>
        <p:nvCxnSpPr>
          <p:cNvPr id="17" name="Straight Connector 16">
            <a:extLst>
              <a:ext uri="{FF2B5EF4-FFF2-40B4-BE49-F238E27FC236}">
                <a16:creationId xmlns:a16="http://schemas.microsoft.com/office/drawing/2014/main" id="{FE144206-BBF3-484D-807E-B505C0B88E1C}"/>
              </a:ext>
            </a:extLst>
          </p:cNvPr>
          <p:cNvCxnSpPr>
            <a:cxnSpLocks/>
          </p:cNvCxnSpPr>
          <p:nvPr/>
        </p:nvCxnSpPr>
        <p:spPr>
          <a:xfrm flipV="1">
            <a:off x="7734299" y="3902661"/>
            <a:ext cx="1524000" cy="1045260"/>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8F8D185-82AF-425F-9E06-14A5E0E948DD}"/>
              </a:ext>
            </a:extLst>
          </p:cNvPr>
          <p:cNvCxnSpPr>
            <a:cxnSpLocks/>
          </p:cNvCxnSpPr>
          <p:nvPr/>
        </p:nvCxnSpPr>
        <p:spPr>
          <a:xfrm>
            <a:off x="7277099" y="2591696"/>
            <a:ext cx="1143000" cy="1250554"/>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Checkmark">
            <a:extLst>
              <a:ext uri="{FF2B5EF4-FFF2-40B4-BE49-F238E27FC236}">
                <a16:creationId xmlns:a16="http://schemas.microsoft.com/office/drawing/2014/main" id="{22D5097A-01C4-40D6-84BD-CF13C06025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96299" y="2748424"/>
            <a:ext cx="914400" cy="914400"/>
          </a:xfrm>
          <a:prstGeom prst="rect">
            <a:avLst/>
          </a:prstGeom>
        </p:spPr>
      </p:pic>
      <p:sp>
        <p:nvSpPr>
          <p:cNvPr id="30" name="TextBox 29">
            <a:extLst>
              <a:ext uri="{FF2B5EF4-FFF2-40B4-BE49-F238E27FC236}">
                <a16:creationId xmlns:a16="http://schemas.microsoft.com/office/drawing/2014/main" id="{7E6C823C-DB1E-4770-B4ED-892877B54352}"/>
              </a:ext>
            </a:extLst>
          </p:cNvPr>
          <p:cNvSpPr txBox="1"/>
          <p:nvPr/>
        </p:nvSpPr>
        <p:spPr>
          <a:xfrm>
            <a:off x="9268482" y="2945762"/>
            <a:ext cx="2656818" cy="627864"/>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Conflicts flagged</a:t>
            </a:r>
          </a:p>
        </p:txBody>
      </p:sp>
    </p:spTree>
    <p:custDataLst>
      <p:tags r:id="rId1"/>
    </p:custDataLst>
    <p:extLst>
      <p:ext uri="{BB962C8B-B14F-4D97-AF65-F5344CB8AC3E}">
        <p14:creationId xmlns:p14="http://schemas.microsoft.com/office/powerpoint/2010/main" val="328004320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6">
                                            <p:txEl>
                                              <p:pRg st="0" end="0"/>
                                            </p:txEl>
                                          </p:spTgt>
                                        </p:tgtEl>
                                        <p:attrNameLst>
                                          <p:attrName>style.visibility</p:attrName>
                                        </p:attrNameLst>
                                      </p:cBhvr>
                                      <p:to>
                                        <p:strVal val="visible"/>
                                      </p:to>
                                    </p:set>
                                  </p:childTnLst>
                                </p:cTn>
                              </p:par>
                              <p:par>
                                <p:cTn id="39" presetID="10"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7">
                                            <p:txEl>
                                              <p:pRg st="0" end="0"/>
                                            </p:txEl>
                                          </p:spTgt>
                                        </p:tgtEl>
                                        <p:attrNameLst>
                                          <p:attrName>style.visibility</p:attrName>
                                        </p:attrNameLst>
                                      </p:cBhvr>
                                      <p:to>
                                        <p:strVal val="visible"/>
                                      </p:to>
                                    </p:se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par>
                          <p:cTn id="49" fill="hold">
                            <p:stCondLst>
                              <p:cond delay="500"/>
                            </p:stCondLst>
                            <p:childTnLst>
                              <p:par>
                                <p:cTn id="50" presetID="10" presetClass="entr" presetSubtype="0" fill="hold" grpId="0" nodeType="afterEffect">
                                  <p:stCondLst>
                                    <p:cond delay="100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par>
                                <p:cTn id="53" presetID="10" presetClass="entr" presetSubtype="0" fill="hold" nodeType="withEffect">
                                  <p:stCondLst>
                                    <p:cond delay="100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12" grpId="0" animBg="1"/>
      <p:bldP spid="13" grpId="0" animBg="1"/>
      <p:bldP spid="14" grpId="0" animBg="1"/>
      <p:bldP spid="26" grpId="0" uiExpand="1" build="p"/>
      <p:bldP spid="27" grpId="0" uiExpand="1" build="p"/>
      <p:bldP spid="30" grpId="0"/>
    </p:bldLst>
  </p:timing>
  <p:extLst>
    <p:ext uri="{6950BFC3-D8DA-4A85-94F7-54DA5524770B}">
      <p188:commentRel xmlns:p188="http://schemas.microsoft.com/office/powerpoint/2018/8/main" r:id="rId4"/>
    </p:ext>
  </p:extLst>
</p:sld>
</file>

<file path=ppt/slides/slide3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8AAAB-CE90-41DE-A843-754AE57E0335}"/>
              </a:ext>
            </a:extLst>
          </p:cNvPr>
          <p:cNvSpPr>
            <a:spLocks noGrp="1"/>
          </p:cNvSpPr>
          <p:nvPr>
            <p:ph type="title"/>
          </p:nvPr>
        </p:nvSpPr>
        <p:spPr/>
        <p:txBody>
          <a:bodyPr/>
          <a:lstStyle/>
          <a:p>
            <a:r>
              <a:rPr lang="en-US"/>
              <a:t>Feature Flags </a:t>
            </a:r>
          </a:p>
        </p:txBody>
      </p:sp>
      <p:pic>
        <p:nvPicPr>
          <p:cNvPr id="5" name="Picture 4" descr="Graphical user interface&#10;&#10;Description automatically generated with low confidence">
            <a:extLst>
              <a:ext uri="{FF2B5EF4-FFF2-40B4-BE49-F238E27FC236}">
                <a16:creationId xmlns:a16="http://schemas.microsoft.com/office/drawing/2014/main" id="{1379F72A-F111-4C59-837F-B5A96FD9437B}"/>
              </a:ext>
            </a:extLst>
          </p:cNvPr>
          <p:cNvPicPr>
            <a:picLocks noChangeAspect="1"/>
          </p:cNvPicPr>
          <p:nvPr/>
        </p:nvPicPr>
        <p:blipFill>
          <a:blip r:embed="rId3"/>
          <a:stretch>
            <a:fillRect/>
          </a:stretch>
        </p:blipFill>
        <p:spPr>
          <a:xfrm>
            <a:off x="6182855" y="3622039"/>
            <a:ext cx="5422226" cy="2830402"/>
          </a:xfrm>
          <a:prstGeom prst="rect">
            <a:avLst/>
          </a:prstGeom>
        </p:spPr>
      </p:pic>
      <p:graphicFrame>
        <p:nvGraphicFramePr>
          <p:cNvPr id="6" name="Diagram 5">
            <a:extLst>
              <a:ext uri="{FF2B5EF4-FFF2-40B4-BE49-F238E27FC236}">
                <a16:creationId xmlns:a16="http://schemas.microsoft.com/office/drawing/2014/main" id="{496D982C-A5DC-4793-A13F-B1A9171AAD29}"/>
              </a:ext>
            </a:extLst>
          </p:cNvPr>
          <p:cNvGraphicFramePr/>
          <p:nvPr>
            <p:extLst>
              <p:ext uri="{D42A27DB-BD31-4B8C-83A1-F6EECF244321}">
                <p14:modId xmlns:p14="http://schemas.microsoft.com/office/powerpoint/2010/main" val="3025038361"/>
              </p:ext>
            </p:extLst>
          </p:nvPr>
        </p:nvGraphicFramePr>
        <p:xfrm>
          <a:off x="111760" y="912706"/>
          <a:ext cx="630936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Speech Bubble: Rectangle with Corners Rounded 7">
            <a:extLst>
              <a:ext uri="{FF2B5EF4-FFF2-40B4-BE49-F238E27FC236}">
                <a16:creationId xmlns:a16="http://schemas.microsoft.com/office/drawing/2014/main" id="{20E79CE1-9844-4144-936D-54638F032318}"/>
              </a:ext>
            </a:extLst>
          </p:cNvPr>
          <p:cNvSpPr/>
          <p:nvPr/>
        </p:nvSpPr>
        <p:spPr bwMode="auto">
          <a:xfrm>
            <a:off x="7569200" y="1717040"/>
            <a:ext cx="3698240" cy="1259840"/>
          </a:xfrm>
          <a:prstGeom prst="wedgeRoundRectCallout">
            <a:avLst>
              <a:gd name="adj1" fmla="val -23439"/>
              <a:gd name="adj2" fmla="val 138001"/>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r>
              <a:rPr lang="en-US" sz="2400"/>
              <a:t>If ON: send email</a:t>
            </a:r>
          </a:p>
          <a:p>
            <a:pPr defTabSz="932472" fontAlgn="base">
              <a:spcBef>
                <a:spcPct val="0"/>
              </a:spcBef>
              <a:spcAft>
                <a:spcPct val="0"/>
              </a:spcAft>
            </a:pPr>
            <a:r>
              <a:rPr lang="en-US" sz="2400"/>
              <a:t>If OFF: send to printer</a:t>
            </a:r>
          </a:p>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053803"/>
      </p:ext>
    </p:extLst>
  </p:cSld>
  <p:clrMapOvr>
    <a:masterClrMapping/>
  </p:clrMapOvr>
</p:sld>
</file>

<file path=ppt/slides/slide37.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Additional Git Commands</a:t>
            </a:r>
          </a:p>
        </p:txBody>
      </p:sp>
      <p:graphicFrame>
        <p:nvGraphicFramePr>
          <p:cNvPr id="3" name="Content Placeholder 2">
            <a:extLst>
              <a:ext uri="{FF2B5EF4-FFF2-40B4-BE49-F238E27FC236}">
                <a16:creationId xmlns:a16="http://schemas.microsoft.com/office/drawing/2014/main" id="{C1D7D4C2-AB8E-4FC9-821A-ACF7B0BC3BFC}"/>
              </a:ext>
            </a:extLst>
          </p:cNvPr>
          <p:cNvGraphicFramePr>
            <a:graphicFrameLocks noGrp="1"/>
          </p:cNvGraphicFramePr>
          <p:nvPr>
            <p:ph sz="quarter" idx="13"/>
            <p:extLst>
              <p:ext uri="{D42A27DB-BD31-4B8C-83A1-F6EECF244321}">
                <p14:modId xmlns:p14="http://schemas.microsoft.com/office/powerpoint/2010/main" val="4096281054"/>
              </p:ext>
            </p:extLst>
          </p:nvPr>
        </p:nvGraphicFramePr>
        <p:xfrm>
          <a:off x="655638" y="929390"/>
          <a:ext cx="10880726" cy="560857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567317455"/>
      </p:ext>
    </p:extLst>
  </p:cSld>
  <p:clrMapOvr>
    <a:masterClrMapping/>
  </p:clrMapOvr>
  <p:transition spd="slow"/>
  <p:extLst>
    <p:ext uri="{6950BFC3-D8DA-4A85-94F7-54DA5524770B}">
      <p188:commentRel xmlns:p188="http://schemas.microsoft.com/office/powerpoint/2018/8/main" r:id="rId4"/>
    </p:ext>
  </p:extLst>
</p:sld>
</file>

<file path=ppt/slides/slide3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cs typeface="Segoe UI"/>
              </a:rPr>
              <a:t>Git with Visual Studio Code</a:t>
            </a:r>
            <a:endParaRPr lang="en-US"/>
          </a:p>
        </p:txBody>
      </p:sp>
    </p:spTree>
    <p:custDataLst>
      <p:tags r:id="rId1"/>
    </p:custDataLst>
    <p:extLst>
      <p:ext uri="{BB962C8B-B14F-4D97-AF65-F5344CB8AC3E}">
        <p14:creationId xmlns:p14="http://schemas.microsoft.com/office/powerpoint/2010/main" val="1914468382"/>
      </p:ext>
    </p:extLst>
  </p:cSld>
  <p:clrMapOvr>
    <a:masterClrMapping/>
  </p:clrMapOvr>
  <p:transition spd="slow"/>
</p:sld>
</file>

<file path=ppt/slides/slide3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DB7D80-C50F-4FCB-AD28-2FF2157DAD12}"/>
              </a:ext>
            </a:extLst>
          </p:cNvPr>
          <p:cNvSpPr>
            <a:spLocks noGrp="1"/>
          </p:cNvSpPr>
          <p:nvPr>
            <p:ph type="title"/>
          </p:nvPr>
        </p:nvSpPr>
        <p:spPr/>
        <p:txBody>
          <a:bodyPr/>
          <a:lstStyle/>
          <a:p>
            <a:r>
              <a:rPr lang="en-US"/>
              <a:t>Visual Studio Code – Introduction </a:t>
            </a:r>
          </a:p>
        </p:txBody>
      </p:sp>
      <p:graphicFrame>
        <p:nvGraphicFramePr>
          <p:cNvPr id="2" name="Content Placeholder 1">
            <a:extLst>
              <a:ext uri="{FF2B5EF4-FFF2-40B4-BE49-F238E27FC236}">
                <a16:creationId xmlns:a16="http://schemas.microsoft.com/office/drawing/2014/main" id="{55472DAC-5BC2-4A9C-A295-5D57B2A4E50B}"/>
              </a:ext>
            </a:extLst>
          </p:cNvPr>
          <p:cNvGraphicFramePr>
            <a:graphicFrameLocks noGrp="1"/>
          </p:cNvGraphicFramePr>
          <p:nvPr>
            <p:ph sz="quarter" idx="13"/>
            <p:extLst>
              <p:ext uri="{D42A27DB-BD31-4B8C-83A1-F6EECF244321}">
                <p14:modId xmlns:p14="http://schemas.microsoft.com/office/powerpoint/2010/main" val="943809798"/>
              </p:ext>
            </p:extLst>
          </p:nvPr>
        </p:nvGraphicFramePr>
        <p:xfrm>
          <a:off x="431799" y="1137921"/>
          <a:ext cx="11328402" cy="50190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7349899"/>
      </p:ext>
    </p:extLst>
  </p:cSld>
  <p:clrMapOvr>
    <a:masterClrMapping/>
  </p:clrMapOvr>
</p:sld>
</file>

<file path=ppt/slides/slide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DC5CBE-6195-432A-906E-492F58991AD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Source Control</a:t>
            </a:r>
          </a:p>
        </p:txBody>
      </p:sp>
      <p:graphicFrame>
        <p:nvGraphicFramePr>
          <p:cNvPr id="7" name="Text Placeholder 1">
            <a:extLst>
              <a:ext uri="{FF2B5EF4-FFF2-40B4-BE49-F238E27FC236}">
                <a16:creationId xmlns:a16="http://schemas.microsoft.com/office/drawing/2014/main" id="{335214FA-E89A-4D8E-A7CC-C1AA93FABED4}"/>
              </a:ext>
            </a:extLst>
          </p:cNvPr>
          <p:cNvGraphicFramePr>
            <a:graphicFrameLocks noGrp="1"/>
          </p:cNvGraphicFramePr>
          <p:nvPr>
            <p:ph sz="quarter" idx="13"/>
            <p:extLst>
              <p:ext uri="{D42A27DB-BD31-4B8C-83A1-F6EECF244321}">
                <p14:modId xmlns:p14="http://schemas.microsoft.com/office/powerpoint/2010/main" val="1122524821"/>
              </p:ext>
            </p:extLst>
          </p:nvPr>
        </p:nvGraphicFramePr>
        <p:xfrm>
          <a:off x="655638" y="981634"/>
          <a:ext cx="10880725" cy="55563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950207328"/>
      </p:ext>
    </p:extLst>
  </p:cSld>
  <p:clrMapOvr>
    <a:masterClrMapping/>
  </p:clrMapOvr>
  <p:transition spd="slow"/>
</p:sld>
</file>

<file path=ppt/slides/slide4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BD23FA-4C18-4312-B409-8E3E422A3A91}"/>
              </a:ext>
            </a:extLst>
          </p:cNvPr>
          <p:cNvPicPr>
            <a:picLocks noChangeAspect="1"/>
          </p:cNvPicPr>
          <p:nvPr/>
        </p:nvPicPr>
        <p:blipFill>
          <a:blip r:embed="rId4"/>
          <a:stretch>
            <a:fillRect/>
          </a:stretch>
        </p:blipFill>
        <p:spPr>
          <a:xfrm>
            <a:off x="2834640" y="1005840"/>
            <a:ext cx="8555167" cy="5760720"/>
          </a:xfrm>
          <a:prstGeom prst="rect">
            <a:avLst/>
          </a:prstGeom>
        </p:spPr>
      </p:pic>
      <p:sp>
        <p:nvSpPr>
          <p:cNvPr id="3" name="Title 2">
            <a:extLst>
              <a:ext uri="{FF2B5EF4-FFF2-40B4-BE49-F238E27FC236}">
                <a16:creationId xmlns:a16="http://schemas.microsoft.com/office/drawing/2014/main" id="{F926E264-1ABC-4BAC-A8F2-693ECC87F329}"/>
              </a:ext>
            </a:extLst>
          </p:cNvPr>
          <p:cNvSpPr>
            <a:spLocks noGrp="1"/>
          </p:cNvSpPr>
          <p:nvPr>
            <p:ph type="title"/>
          </p:nvPr>
        </p:nvSpPr>
        <p:spPr/>
        <p:txBody>
          <a:bodyPr/>
          <a:lstStyle/>
          <a:p>
            <a:r>
              <a:rPr lang="en-US" noProof="1"/>
              <a:t>Anatomy of Visual Studio Code</a:t>
            </a:r>
            <a:endParaRPr lang="en-US"/>
          </a:p>
        </p:txBody>
      </p:sp>
      <p:sp>
        <p:nvSpPr>
          <p:cNvPr id="13" name="Speech Bubble: Rectangle 12">
            <a:extLst>
              <a:ext uri="{FF2B5EF4-FFF2-40B4-BE49-F238E27FC236}">
                <a16:creationId xmlns:a16="http://schemas.microsoft.com/office/drawing/2014/main" id="{A6B245DE-899A-400A-BC70-330B65502B93}"/>
              </a:ext>
            </a:extLst>
          </p:cNvPr>
          <p:cNvSpPr/>
          <p:nvPr/>
        </p:nvSpPr>
        <p:spPr>
          <a:xfrm>
            <a:off x="1033562" y="1987909"/>
            <a:ext cx="1601096" cy="612648"/>
          </a:xfrm>
          <a:prstGeom prst="wedgeRectCallout">
            <a:avLst>
              <a:gd name="adj1" fmla="val 68849"/>
              <a:gd name="adj2" fmla="val -125189"/>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ile Browser</a:t>
            </a:r>
          </a:p>
        </p:txBody>
      </p:sp>
      <p:sp>
        <p:nvSpPr>
          <p:cNvPr id="14" name="Speech Bubble: Rectangle 13">
            <a:extLst>
              <a:ext uri="{FF2B5EF4-FFF2-40B4-BE49-F238E27FC236}">
                <a16:creationId xmlns:a16="http://schemas.microsoft.com/office/drawing/2014/main" id="{54FFE20A-90EC-432F-A913-80AD57E16890}"/>
              </a:ext>
            </a:extLst>
          </p:cNvPr>
          <p:cNvSpPr/>
          <p:nvPr/>
        </p:nvSpPr>
        <p:spPr>
          <a:xfrm>
            <a:off x="1033562" y="3144495"/>
            <a:ext cx="1601096" cy="838225"/>
          </a:xfrm>
          <a:prstGeom prst="wedgeRectCallout">
            <a:avLst>
              <a:gd name="adj1" fmla="val 227582"/>
              <a:gd name="adj2" fmla="val -25799"/>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Script Panel</a:t>
            </a:r>
          </a:p>
        </p:txBody>
      </p:sp>
      <p:sp>
        <p:nvSpPr>
          <p:cNvPr id="15" name="Speech Bubble: Rectangle 14">
            <a:extLst>
              <a:ext uri="{FF2B5EF4-FFF2-40B4-BE49-F238E27FC236}">
                <a16:creationId xmlns:a16="http://schemas.microsoft.com/office/drawing/2014/main" id="{362998D0-6046-4EF6-9958-DB86220E18DE}"/>
              </a:ext>
            </a:extLst>
          </p:cNvPr>
          <p:cNvSpPr/>
          <p:nvPr/>
        </p:nvSpPr>
        <p:spPr>
          <a:xfrm>
            <a:off x="1033562" y="4890666"/>
            <a:ext cx="1601096" cy="838225"/>
          </a:xfrm>
          <a:prstGeom prst="wedgeRectCallout">
            <a:avLst>
              <a:gd name="adj1" fmla="val 206594"/>
              <a:gd name="adj2" fmla="val 21803"/>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a:rPr>
              <a:t>Terminal</a:t>
            </a:r>
            <a:r>
              <a:rPr kumimoji="0" lang="en-US" sz="1800" b="0" i="0" u="none" strike="noStrike" kern="1200" cap="none" spc="0" normalizeH="0" baseline="0" noProof="0">
                <a:ln>
                  <a:noFill/>
                </a:ln>
                <a:solidFill>
                  <a:prstClr val="white"/>
                </a:solidFill>
                <a:effectLst/>
                <a:uLnTx/>
                <a:uFillTx/>
                <a:latin typeface="Segoe UI"/>
                <a:ea typeface="+mn-ea"/>
                <a:cs typeface="+mn-cs"/>
              </a:rPr>
              <a:t> </a:t>
            </a:r>
            <a:r>
              <a:rPr lang="en-US" sz="1800">
                <a:solidFill>
                  <a:prstClr val="white"/>
                </a:solidFill>
                <a:latin typeface="Segoe UI"/>
              </a:rPr>
              <a:t>Panel</a:t>
            </a: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922459630"/>
      </p:ext>
    </p:extLst>
  </p:cSld>
  <p:clrMapOvr>
    <a:masterClrMapping/>
  </p:clrMapOvr>
  <p:transition spd="slow"/>
</p:sld>
</file>

<file path=ppt/slides/slide4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DD3B83-0898-4DDD-915A-527DC9B03F9D}"/>
              </a:ext>
            </a:extLst>
          </p:cNvPr>
          <p:cNvPicPr>
            <a:picLocks noChangeAspect="1"/>
          </p:cNvPicPr>
          <p:nvPr/>
        </p:nvPicPr>
        <p:blipFill>
          <a:blip r:embed="rId4"/>
          <a:stretch>
            <a:fillRect/>
          </a:stretch>
        </p:blipFill>
        <p:spPr>
          <a:xfrm>
            <a:off x="2645609" y="1381692"/>
            <a:ext cx="9337012" cy="3635651"/>
          </a:xfrm>
          <a:prstGeom prst="rect">
            <a:avLst/>
          </a:prstGeom>
        </p:spPr>
      </p:pic>
      <p:sp>
        <p:nvSpPr>
          <p:cNvPr id="3" name="Title 2">
            <a:extLst>
              <a:ext uri="{FF2B5EF4-FFF2-40B4-BE49-F238E27FC236}">
                <a16:creationId xmlns:a16="http://schemas.microsoft.com/office/drawing/2014/main" id="{F926E264-1ABC-4BAC-A8F2-693ECC87F329}"/>
              </a:ext>
            </a:extLst>
          </p:cNvPr>
          <p:cNvSpPr>
            <a:spLocks noGrp="1"/>
          </p:cNvSpPr>
          <p:nvPr>
            <p:ph type="title"/>
          </p:nvPr>
        </p:nvSpPr>
        <p:spPr/>
        <p:txBody>
          <a:bodyPr/>
          <a:lstStyle/>
          <a:p>
            <a:r>
              <a:rPr lang="en-US" noProof="1"/>
              <a:t>Git With Visual Studio Code</a:t>
            </a:r>
            <a:endParaRPr lang="en-US"/>
          </a:p>
        </p:txBody>
      </p:sp>
      <p:sp>
        <p:nvSpPr>
          <p:cNvPr id="13" name="Speech Bubble: Rectangle 12">
            <a:extLst>
              <a:ext uri="{FF2B5EF4-FFF2-40B4-BE49-F238E27FC236}">
                <a16:creationId xmlns:a16="http://schemas.microsoft.com/office/drawing/2014/main" id="{A6B245DE-899A-400A-BC70-330B65502B93}"/>
              </a:ext>
            </a:extLst>
          </p:cNvPr>
          <p:cNvSpPr/>
          <p:nvPr/>
        </p:nvSpPr>
        <p:spPr>
          <a:xfrm>
            <a:off x="655637" y="1046516"/>
            <a:ext cx="1601096" cy="838224"/>
          </a:xfrm>
          <a:prstGeom prst="wedgeRectCallout">
            <a:avLst>
              <a:gd name="adj1" fmla="val 120287"/>
              <a:gd name="adj2" fmla="val 90400"/>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a:rPr>
              <a:t>Stage &amp; Commit</a:t>
            </a: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Speech Bubble: Rectangle 13">
            <a:extLst>
              <a:ext uri="{FF2B5EF4-FFF2-40B4-BE49-F238E27FC236}">
                <a16:creationId xmlns:a16="http://schemas.microsoft.com/office/drawing/2014/main" id="{54FFE20A-90EC-432F-A913-80AD57E16890}"/>
              </a:ext>
            </a:extLst>
          </p:cNvPr>
          <p:cNvSpPr/>
          <p:nvPr/>
        </p:nvSpPr>
        <p:spPr>
          <a:xfrm>
            <a:off x="655637" y="3246120"/>
            <a:ext cx="1601096" cy="838225"/>
          </a:xfrm>
          <a:prstGeom prst="wedgeRectCallout">
            <a:avLst>
              <a:gd name="adj1" fmla="val 80363"/>
              <a:gd name="adj2" fmla="val 59046"/>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Extension Search</a:t>
            </a:r>
          </a:p>
        </p:txBody>
      </p:sp>
      <p:sp>
        <p:nvSpPr>
          <p:cNvPr id="15" name="Speech Bubble: Rectangle 14">
            <a:extLst>
              <a:ext uri="{FF2B5EF4-FFF2-40B4-BE49-F238E27FC236}">
                <a16:creationId xmlns:a16="http://schemas.microsoft.com/office/drawing/2014/main" id="{362998D0-6046-4EF6-9958-DB86220E18DE}"/>
              </a:ext>
            </a:extLst>
          </p:cNvPr>
          <p:cNvSpPr/>
          <p:nvPr/>
        </p:nvSpPr>
        <p:spPr>
          <a:xfrm>
            <a:off x="655637" y="2199704"/>
            <a:ext cx="1601096" cy="838225"/>
          </a:xfrm>
          <a:prstGeom prst="wedgeRectCallout">
            <a:avLst>
              <a:gd name="adj1" fmla="val 78412"/>
              <a:gd name="adj2" fmla="val 48469"/>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a:rPr>
              <a:t>GIT</a:t>
            </a: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9" name="Picture 8" descr="Graphical user interface, text, website&#10;&#10;Description automatically generated">
            <a:extLst>
              <a:ext uri="{FF2B5EF4-FFF2-40B4-BE49-F238E27FC236}">
                <a16:creationId xmlns:a16="http://schemas.microsoft.com/office/drawing/2014/main" id="{AB772056-457F-4472-8414-F5FDEC19BF86}"/>
              </a:ext>
            </a:extLst>
          </p:cNvPr>
          <p:cNvPicPr>
            <a:picLocks noChangeAspect="1"/>
          </p:cNvPicPr>
          <p:nvPr/>
        </p:nvPicPr>
        <p:blipFill rotWithShape="1">
          <a:blip r:embed="rId5"/>
          <a:srcRect r="4633" b="14486"/>
          <a:stretch/>
        </p:blipFill>
        <p:spPr>
          <a:xfrm>
            <a:off x="355600" y="5061243"/>
            <a:ext cx="11627021" cy="1556979"/>
          </a:xfrm>
          <a:prstGeom prst="rect">
            <a:avLst/>
          </a:prstGeom>
        </p:spPr>
      </p:pic>
      <p:sp>
        <p:nvSpPr>
          <p:cNvPr id="11" name="Speech Bubble: Rectangle 10">
            <a:extLst>
              <a:ext uri="{FF2B5EF4-FFF2-40B4-BE49-F238E27FC236}">
                <a16:creationId xmlns:a16="http://schemas.microsoft.com/office/drawing/2014/main" id="{1D846B92-1FFA-45B5-B1C4-D96F1B0C7FC7}"/>
              </a:ext>
            </a:extLst>
          </p:cNvPr>
          <p:cNvSpPr/>
          <p:nvPr/>
        </p:nvSpPr>
        <p:spPr>
          <a:xfrm>
            <a:off x="655637" y="4292537"/>
            <a:ext cx="1601096" cy="624904"/>
          </a:xfrm>
          <a:prstGeom prst="wedgeRectCallout">
            <a:avLst>
              <a:gd name="adj1" fmla="val 226948"/>
              <a:gd name="adj2" fmla="val 138713"/>
            </a:avLst>
          </a:prstGeom>
          <a:gradFill flip="none" rotWithShape="1">
            <a:gsLst>
              <a:gs pos="0">
                <a:schemeClr val="accent1"/>
              </a:gs>
              <a:gs pos="50000">
                <a:schemeClr val="accent1"/>
              </a:gs>
              <a:gs pos="100000">
                <a:schemeClr val="accent1"/>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Easily clone</a:t>
            </a:r>
          </a:p>
        </p:txBody>
      </p:sp>
    </p:spTree>
    <p:custDataLst>
      <p:tags r:id="rId1"/>
    </p:custDataLst>
    <p:extLst>
      <p:ext uri="{BB962C8B-B14F-4D97-AF65-F5344CB8AC3E}">
        <p14:creationId xmlns:p14="http://schemas.microsoft.com/office/powerpoint/2010/main" val="2850187153"/>
      </p:ext>
    </p:extLst>
  </p:cSld>
  <p:clrMapOvr>
    <a:masterClrMapping/>
  </p:clrMapOvr>
  <p:transition spd="slow"/>
</p:sld>
</file>

<file path=ppt/slides/slide4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9A274-3791-49C6-BC9A-CA36B0DFAA6B}"/>
              </a:ext>
            </a:extLst>
          </p:cNvPr>
          <p:cNvSpPr>
            <a:spLocks noGrp="1"/>
          </p:cNvSpPr>
          <p:nvPr>
            <p:ph type="title"/>
          </p:nvPr>
        </p:nvSpPr>
        <p:spPr/>
        <p:txBody>
          <a:bodyPr/>
          <a:lstStyle/>
          <a:p>
            <a:r>
              <a:rPr lang="en-US"/>
              <a:t>Popular Extensions</a:t>
            </a:r>
          </a:p>
        </p:txBody>
      </p:sp>
      <p:graphicFrame>
        <p:nvGraphicFramePr>
          <p:cNvPr id="4" name="Content Placeholder 3">
            <a:extLst>
              <a:ext uri="{FF2B5EF4-FFF2-40B4-BE49-F238E27FC236}">
                <a16:creationId xmlns:a16="http://schemas.microsoft.com/office/drawing/2014/main" id="{952BBD48-ED2E-4B70-A723-3722F55099B2}"/>
              </a:ext>
            </a:extLst>
          </p:cNvPr>
          <p:cNvGraphicFramePr>
            <a:graphicFrameLocks noGrp="1"/>
          </p:cNvGraphicFramePr>
          <p:nvPr>
            <p:ph sz="quarter" idx="13"/>
            <p:extLst>
              <p:ext uri="{D42A27DB-BD31-4B8C-83A1-F6EECF244321}">
                <p14:modId xmlns:p14="http://schemas.microsoft.com/office/powerpoint/2010/main" val="3591515639"/>
              </p:ext>
            </p:extLst>
          </p:nvPr>
        </p:nvGraphicFramePr>
        <p:xfrm>
          <a:off x="640080" y="1005839"/>
          <a:ext cx="4628606" cy="57541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61B93F30-665D-430C-BD4B-0E274E50AF95}"/>
              </a:ext>
            </a:extLst>
          </p:cNvPr>
          <p:cNvPicPr>
            <a:picLocks noChangeAspect="1"/>
          </p:cNvPicPr>
          <p:nvPr/>
        </p:nvPicPr>
        <p:blipFill>
          <a:blip r:embed="rId8"/>
          <a:stretch>
            <a:fillRect/>
          </a:stretch>
        </p:blipFill>
        <p:spPr>
          <a:xfrm>
            <a:off x="5486399" y="1005838"/>
            <a:ext cx="2547972" cy="2743200"/>
          </a:xfrm>
          <a:prstGeom prst="rect">
            <a:avLst/>
          </a:prstGeom>
        </p:spPr>
      </p:pic>
      <p:pic>
        <p:nvPicPr>
          <p:cNvPr id="13" name="Picture 12">
            <a:extLst>
              <a:ext uri="{FF2B5EF4-FFF2-40B4-BE49-F238E27FC236}">
                <a16:creationId xmlns:a16="http://schemas.microsoft.com/office/drawing/2014/main" id="{0EE5D587-26AB-4956-BB4E-832441723306}"/>
              </a:ext>
            </a:extLst>
          </p:cNvPr>
          <p:cNvPicPr>
            <a:picLocks noChangeAspect="1"/>
          </p:cNvPicPr>
          <p:nvPr/>
        </p:nvPicPr>
        <p:blipFill rotWithShape="1">
          <a:blip r:embed="rId9"/>
          <a:srcRect l="4905" t="7963" r="29769" b="19055"/>
          <a:stretch/>
        </p:blipFill>
        <p:spPr>
          <a:xfrm>
            <a:off x="5486399" y="3884998"/>
            <a:ext cx="6535163" cy="2683129"/>
          </a:xfrm>
          <a:prstGeom prst="rect">
            <a:avLst/>
          </a:prstGeom>
        </p:spPr>
      </p:pic>
      <p:pic>
        <p:nvPicPr>
          <p:cNvPr id="16" name="Picture 15">
            <a:extLst>
              <a:ext uri="{FF2B5EF4-FFF2-40B4-BE49-F238E27FC236}">
                <a16:creationId xmlns:a16="http://schemas.microsoft.com/office/drawing/2014/main" id="{292C8D57-CA97-4391-96C3-3ED0121F84D7}"/>
              </a:ext>
            </a:extLst>
          </p:cNvPr>
          <p:cNvPicPr>
            <a:picLocks noChangeAspect="1"/>
          </p:cNvPicPr>
          <p:nvPr/>
        </p:nvPicPr>
        <p:blipFill>
          <a:blip r:embed="rId10"/>
          <a:stretch>
            <a:fillRect/>
          </a:stretch>
        </p:blipFill>
        <p:spPr>
          <a:xfrm>
            <a:off x="8046720" y="1005837"/>
            <a:ext cx="3974842" cy="2743201"/>
          </a:xfrm>
          <a:prstGeom prst="rect">
            <a:avLst/>
          </a:prstGeom>
        </p:spPr>
      </p:pic>
    </p:spTree>
    <p:extLst>
      <p:ext uri="{BB962C8B-B14F-4D97-AF65-F5344CB8AC3E}">
        <p14:creationId xmlns:p14="http://schemas.microsoft.com/office/powerpoint/2010/main" val="3674094981"/>
      </p:ext>
    </p:extLst>
  </p:cSld>
  <p:clrMapOvr>
    <a:masterClrMapping/>
  </p:clrMapOvr>
</p:sld>
</file>

<file path=ppt/slides/slide4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73110F-3F7F-446D-87F9-219F6D0DBF1D}"/>
              </a:ext>
            </a:extLst>
          </p:cNvPr>
          <p:cNvSpPr>
            <a:spLocks noGrp="1"/>
          </p:cNvSpPr>
          <p:nvPr>
            <p:ph type="title"/>
          </p:nvPr>
        </p:nvSpPr>
        <p:spPr/>
        <p:txBody>
          <a:bodyPr/>
          <a:lstStyle/>
          <a:p>
            <a:r>
              <a:rPr lang="en-US"/>
              <a:t>Git</a:t>
            </a:r>
            <a:br>
              <a:rPr lang="en-US"/>
            </a:br>
            <a:r>
              <a:rPr lang="en-US" sz="2400"/>
              <a:t>(60 minutes)</a:t>
            </a:r>
            <a:endParaRPr lang="en-US"/>
          </a:p>
        </p:txBody>
      </p:sp>
      <p:sp>
        <p:nvSpPr>
          <p:cNvPr id="5" name="Picture Placeholder 4">
            <a:extLst>
              <a:ext uri="{FF2B5EF4-FFF2-40B4-BE49-F238E27FC236}">
                <a16:creationId xmlns:a16="http://schemas.microsoft.com/office/drawing/2014/main" id="{23F8A63D-3407-4A15-A99F-C4B59E100996}"/>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98628492"/>
      </p:ext>
    </p:extLst>
  </p:cSld>
  <p:clrMapOvr>
    <a:masterClrMapping/>
  </p:clrMapOvr>
  <p:transition spd="slow"/>
</p:sld>
</file>

<file path=ppt/slides/slide4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5EB8F-0A77-4901-B0C1-0C8DA649F69B}"/>
              </a:ext>
            </a:extLst>
          </p:cNvPr>
          <p:cNvSpPr>
            <a:spLocks noGrp="1"/>
          </p:cNvSpPr>
          <p:nvPr>
            <p:ph type="title"/>
          </p:nvPr>
        </p:nvSpPr>
        <p:spPr/>
        <p:txBody>
          <a:bodyPr/>
          <a:lstStyle/>
          <a:p>
            <a:r>
              <a:rPr lang="en-US">
                <a:cs typeface="Segoe UI"/>
              </a:rPr>
              <a:t>DevOps Mindset</a:t>
            </a:r>
            <a:endParaRPr lang="en-US"/>
          </a:p>
        </p:txBody>
      </p:sp>
      <p:graphicFrame>
        <p:nvGraphicFramePr>
          <p:cNvPr id="5" name="Content Placeholder 4">
            <a:extLst>
              <a:ext uri="{FF2B5EF4-FFF2-40B4-BE49-F238E27FC236}">
                <a16:creationId xmlns:a16="http://schemas.microsoft.com/office/drawing/2014/main" id="{AFB94093-A6D5-4E3D-BC22-E8007D4E4DF9}"/>
              </a:ext>
            </a:extLst>
          </p:cNvPr>
          <p:cNvGraphicFramePr>
            <a:graphicFrameLocks noGrp="1"/>
          </p:cNvGraphicFramePr>
          <p:nvPr>
            <p:ph sz="quarter" idx="13"/>
            <p:extLst>
              <p:ext uri="{D42A27DB-BD31-4B8C-83A1-F6EECF244321}">
                <p14:modId xmlns:p14="http://schemas.microsoft.com/office/powerpoint/2010/main" val="4213426931"/>
              </p:ext>
            </p:extLst>
          </p:nvPr>
        </p:nvGraphicFramePr>
        <p:xfrm>
          <a:off x="655638" y="1019175"/>
          <a:ext cx="5048476" cy="55187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4F881F6F-86D0-4FAA-8D5D-40CC21BA9C4D}"/>
              </a:ext>
            </a:extLst>
          </p:cNvPr>
          <p:cNvGraphicFramePr/>
          <p:nvPr>
            <p:extLst>
              <p:ext uri="{D42A27DB-BD31-4B8C-83A1-F6EECF244321}">
                <p14:modId xmlns:p14="http://schemas.microsoft.com/office/powerpoint/2010/main" val="2614503688"/>
              </p:ext>
            </p:extLst>
          </p:nvPr>
        </p:nvGraphicFramePr>
        <p:xfrm>
          <a:off x="5567081" y="320040"/>
          <a:ext cx="6624919" cy="632813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3171174539"/>
      </p:ext>
    </p:extLst>
  </p:cSld>
  <p:clrMapOvr>
    <a:masterClrMapping/>
  </p:clrMapOvr>
  <p:transition spd="slow"/>
</p:sld>
</file>

<file path=ppt/slides/slide6.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52F0730-8E40-46F9-8E96-A722C9ED0AE9}"/>
              </a:ext>
            </a:extLst>
          </p:cNvPr>
          <p:cNvGraphicFramePr>
            <a:graphicFrameLocks noGrp="1"/>
          </p:cNvGraphicFramePr>
          <p:nvPr>
            <p:ph sz="quarter" idx="13"/>
            <p:extLst>
              <p:ext uri="{D42A27DB-BD31-4B8C-83A1-F6EECF244321}">
                <p14:modId xmlns:p14="http://schemas.microsoft.com/office/powerpoint/2010/main" val="743436146"/>
              </p:ext>
            </p:extLst>
          </p:nvPr>
        </p:nvGraphicFramePr>
        <p:xfrm>
          <a:off x="655637" y="833718"/>
          <a:ext cx="10880725" cy="54074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8" name="Picture 4">
            <a:extLst>
              <a:ext uri="{FF2B5EF4-FFF2-40B4-BE49-F238E27FC236}">
                <a16:creationId xmlns:a16="http://schemas.microsoft.com/office/drawing/2014/main" id="{E8966518-FA0F-4A17-B0E0-F012A5A24A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2338" y="481853"/>
            <a:ext cx="2095500" cy="8763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15115366"/>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31D910-BF65-4334-86F7-1974FCC7F7BF}"/>
              </a:ext>
            </a:extLst>
          </p:cNvPr>
          <p:cNvSpPr>
            <a:spLocks noGrp="1"/>
          </p:cNvSpPr>
          <p:nvPr>
            <p:ph type="title"/>
          </p:nvPr>
        </p:nvSpPr>
        <p:spPr/>
        <p:txBody>
          <a:bodyPr/>
          <a:lstStyle/>
          <a:p>
            <a:r>
              <a:rPr lang="en-US"/>
              <a:t>Git vs. GitHub</a:t>
            </a:r>
          </a:p>
        </p:txBody>
      </p:sp>
      <p:graphicFrame>
        <p:nvGraphicFramePr>
          <p:cNvPr id="4" name="Content Placeholder 3">
            <a:extLst>
              <a:ext uri="{FF2B5EF4-FFF2-40B4-BE49-F238E27FC236}">
                <a16:creationId xmlns:a16="http://schemas.microsoft.com/office/drawing/2014/main" id="{F7E4D8ED-66CB-44F7-BA75-20A3D914683F}"/>
              </a:ext>
            </a:extLst>
          </p:cNvPr>
          <p:cNvGraphicFramePr>
            <a:graphicFrameLocks noGrp="1"/>
          </p:cNvGraphicFramePr>
          <p:nvPr>
            <p:ph sz="quarter" idx="13"/>
            <p:extLst>
              <p:ext uri="{D42A27DB-BD31-4B8C-83A1-F6EECF244321}">
                <p14:modId xmlns:p14="http://schemas.microsoft.com/office/powerpoint/2010/main" val="955518936"/>
              </p:ext>
            </p:extLst>
          </p:nvPr>
        </p:nvGraphicFramePr>
        <p:xfrm>
          <a:off x="655637" y="1094909"/>
          <a:ext cx="10880726" cy="17653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6" name="Picture 2" descr="Image result for git vs github">
            <a:extLst>
              <a:ext uri="{FF2B5EF4-FFF2-40B4-BE49-F238E27FC236}">
                <a16:creationId xmlns:a16="http://schemas.microsoft.com/office/drawing/2014/main" id="{EDD14276-1D96-4136-965C-B72A0EAFD03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79503" y="3173506"/>
            <a:ext cx="6832994" cy="32251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18951384"/>
      </p:ext>
    </p:extLst>
  </p:cSld>
  <p:clrMapOvr>
    <a:masterClrMapping/>
  </p:clrMapOvr>
  <p:transition spd="slow"/>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Git Basics</a:t>
            </a:r>
          </a:p>
        </p:txBody>
      </p:sp>
    </p:spTree>
    <p:custDataLst>
      <p:tags r:id="rId1"/>
    </p:custDataLst>
    <p:extLst>
      <p:ext uri="{BB962C8B-B14F-4D97-AF65-F5344CB8AC3E}">
        <p14:creationId xmlns:p14="http://schemas.microsoft.com/office/powerpoint/2010/main" val="4010731363"/>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Git Keywords - Basics</a:t>
            </a:r>
          </a:p>
        </p:txBody>
      </p:sp>
      <p:graphicFrame>
        <p:nvGraphicFramePr>
          <p:cNvPr id="9" name="Text Placeholder 4">
            <a:extLst>
              <a:ext uri="{FF2B5EF4-FFF2-40B4-BE49-F238E27FC236}">
                <a16:creationId xmlns:a16="http://schemas.microsoft.com/office/drawing/2014/main" id="{4E15B5D6-0673-4365-B6C9-E2855129C6C1}"/>
              </a:ext>
            </a:extLst>
          </p:cNvPr>
          <p:cNvGraphicFramePr>
            <a:graphicFrameLocks noGrp="1"/>
          </p:cNvGraphicFramePr>
          <p:nvPr>
            <p:ph sz="quarter" idx="13"/>
            <p:extLst>
              <p:ext uri="{D42A27DB-BD31-4B8C-83A1-F6EECF244321}">
                <p14:modId xmlns:p14="http://schemas.microsoft.com/office/powerpoint/2010/main" val="303754836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94848699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5E650778-C8AC-4573-A306-08A0C1B81EE5}&lt;/SectionId&gt;&lt;Name&gt;WorkshopPLUS - Windows PowerShell: Tool Building&lt;/Name&gt;&lt;SlidesCount&gt;2&lt;/SlidesCount&gt;&lt;SlideGuids /&gt;&lt;/NativeSection&gt;&lt;NativeSection&gt;&lt;SectionId&gt;{4A87D3EC-2E8C-4697-81FA-94A6B89DA86C}&lt;/SectionId&gt;&lt;Name&gt;Git - Setup&lt;/Name&gt;&lt;SlidesCount&gt;15&lt;/SlidesCount&gt;&lt;SlideGuids /&gt;&lt;/NativeSection&gt;&lt;NativeSection&gt;&lt;SectionId&gt;{8DDB8A01-265F-413F-AD41-37B1A6C6853C}&lt;/SectionId&gt;&lt;Name&gt;Logging into a Git repository&lt;/Name&gt;&lt;SlidesCount&gt;14&lt;/SlidesCount&gt;&lt;SlideGuids /&gt;&lt;/NativeSection&gt;&lt;NativeSection&gt;&lt;SectionId&gt;{86357456-0A99-49FD-82C7-32A36B1F7EA1}&lt;/SectionId&gt;&lt;Name&gt;LAB: Git Introduction&lt;/Name&gt;&lt;SlidesCount&gt;2&lt;/SlidesCount&gt;&lt;SlideGuids /&gt;&lt;/NativeSection&gt;&lt;/ArrayOfNativeSection&gt;"/>
  <p:tag name="MIO_EKGUID" val="3c1ae33d-ca9d-4a21-8f34-a7da9ad83671"/>
  <p:tag name="MIO_UPDATE" val="True"/>
  <p:tag name="MIO_VERSION" val="02.03.2020 12:26:40"/>
  <p:tag name="MIO_DBID" val="12B0C59E-2253-4124-A5E9-470ADF4CB168"/>
  <p:tag name="MIO_LASTDOWNLOADED" val="02.03.2020 13:53:03"/>
  <p:tag name="MIO_OBJECTNAME" val="M07 Git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ec83a6b9-b94d-4370-895f-75c3b2e0123d"/>
  <p:tag name="MIO_EKGUID" val="158063ea-c20b-493e-be3f-86027c0d63ba"/>
  <p:tag name="MIO_UPDATE" val="True"/>
  <p:tag name="MIO_VERSION" val="02.03.2020 12:26:37"/>
  <p:tag name="MIO_DBID" val="12b0c59e-2253-4124-a5e9-470adf4cb168"/>
  <p:tag name="MIO_LASTDOWNLOADED" val="02.03.2020 12:52:57"/>
  <p:tag name="MIO_OBJECTNAME" val="What is DevOp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0f7ccc-0ff6-48e8-93d1-0f7273b03827"/>
  <p:tag name="MIO_EKGUID" val="2bd5da0e-2243-4725-a2ff-c00461dcf7b4"/>
  <p:tag name="MIO_UPDATE" val="True"/>
  <p:tag name="MIO_VERSION" val="02.03.2020 12:26:38"/>
  <p:tag name="MIO_DBID" val="12b0c59e-2253-4124-a5e9-470adf4cb168"/>
  <p:tag name="MIO_LASTDOWNLOADED" val="02.03.2020 12:52:58"/>
  <p:tag name="MIO_OBJECTNAME" val="What is Git?"/>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10a46466-7038-4977-8bf9-9c495aafe56d"/>
  <p:tag name="MIO_EKGUID" val="e9cc27b6-59b8-40e9-adeb-b58e0e83b6ba"/>
  <p:tag name="MIO_UPDATE" val="True"/>
  <p:tag name="MIO_VERSION" val="02.03.2020 12:26:38"/>
  <p:tag name="MIO_DBID" val="12b0c59e-2253-4124-a5e9-470adf4cb168"/>
  <p:tag name="MIO_LASTDOWNLOADED" val="02.03.2020 12:52:59"/>
  <p:tag name="MIO_OBJECTNAME" val="Git vs. GitHub"/>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f17cb3b3-92af-4df8-8637-7853efc5e887"/>
  <p:tag name="MIO_EKGUID" val="2ee40cb9-732a-4353-9ff0-df2449afe211"/>
  <p:tag name="MIO_UPDATE" val="True"/>
  <p:tag name="MIO_VERSION" val="02.03.2020 12:26:37"/>
  <p:tag name="MIO_DBID" val="12b0c59e-2253-4124-a5e9-470adf4cb168"/>
  <p:tag name="MIO_LASTDOWNLOADED" val="02.03.2020 12:52:57"/>
  <p:tag name="MIO_OBJECTNAME" val="Git setup"/>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fd04bcb5-0d5e-45cb-a5cc-6eb990113b5b"/>
  <p:tag name="MIO_EKGUID" val="8d24d0d6-f3db-4244-af35-0ed9773f7439"/>
  <p:tag name="MIO_UPDATE" val="True"/>
  <p:tag name="MIO_VERSION" val="02.03.2020 12:26:38"/>
  <p:tag name="MIO_DBID" val="12b0c59e-2253-4124-a5e9-470adf4cb168"/>
  <p:tag name="MIO_LASTDOWNLOADED" val="02.03.2020 12:52:59"/>
  <p:tag name="MIO_OBJECTNAME" val="Create Repository"/>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cd1a84bc-9937-4a28-b77d-d18027304a8d"/>
  <p:tag name="MIO_EKGUID" val="a3c39ff2-540d-40d1-a923-10ac0eca11a3"/>
  <p:tag name="MIO_UPDATE" val="True"/>
  <p:tag name="MIO_VERSION" val="02.03.2020 12:26:38"/>
  <p:tag name="MIO_DBID" val="12b0c59e-2253-4124-a5e9-470adf4cb168"/>
  <p:tag name="MIO_LASTDOWNLOADED" val="02.03.2020 12:52:59"/>
  <p:tag name="MIO_OBJECTNAME" val="Workspace / Staging Area"/>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3421a3e-22d9-492d-adc4-80d595e1fa71"/>
  <p:tag name="MIO_EKGUID" val="99c6370b-6862-4860-a16a-b527d266f394"/>
  <p:tag name="MIO_UPDATE" val="True"/>
  <p:tag name="MIO_VERSION" val="02.03.2020 12:26:38"/>
  <p:tag name="MIO_DBID" val="12b0c59e-2253-4124-a5e9-470adf4cb168"/>
  <p:tag name="MIO_LASTDOWNLOADED" val="02.03.2020 12:52:59"/>
  <p:tag name="MIO_OBJECTNAME" val="Adding Content to Staging Area"/>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4d35412f-308b-4d3d-8f9c-7e9c565bac42"/>
  <p:tag name="MIO_EKGUID" val="43a2e526-fe24-40aa-8744-6bff7bdee794"/>
  <p:tag name="MIO_UPDATE" val="True"/>
  <p:tag name="MIO_VERSION" val="02.03.2020 12:26:39"/>
  <p:tag name="MIO_DBID" val="12b0c59e-2253-4124-a5e9-470adf4cb168"/>
  <p:tag name="MIO_LASTDOWNLOADED" val="02.03.2020 12:52:59"/>
  <p:tag name="MIO_OBJECTNAME" val="Removing Staging Area Content"/>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3fa21913-02c3-42c6-a287-143624826874"/>
  <p:tag name="MIO_EKGUID" val="4a63256b-3476-4a28-9850-9dfababac41d"/>
  <p:tag name="MIO_UPDATE" val="True"/>
  <p:tag name="MIO_VERSION" val="02.03.2020 12:26:39"/>
  <p:tag name="MIO_DBID" val="12b0c59e-2253-4124-a5e9-470adf4cb168"/>
  <p:tag name="MIO_LASTDOWNLOADED" val="02.03.2020 12:52:59"/>
  <p:tag name="MIO_OBJECTNAME" val="Commit"/>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f047c8e2-1f72-49c9-a81c-fabdebef71c9"/>
  <p:tag name="MIO_EKGUID" val="e4e63baf-84f1-490c-87b9-5b1ce3c2a30a"/>
  <p:tag name="MIO_UPDATE" val="True"/>
  <p:tag name="MIO_VERSION" val="02.03.2020 12:26:39"/>
  <p:tag name="MIO_DBID" val="12b0c59e-2253-4124-a5e9-470adf4cb168"/>
  <p:tag name="MIO_LASTDOWNLOADED" val="02.03.2020 12:52:59"/>
  <p:tag name="MIO_OBJECTNAME" val="Committing Change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1366395d-d52b-443b-b0d5-9eb2f6999f76"/>
  <p:tag name="MIO_EKGUID" val="4147e6a8-c625-490c-b005-873373eef196"/>
  <p:tag name="MIO_UPDATE" val="True"/>
  <p:tag name="MIO_VERSION" val="02.03.2020 12:26:39"/>
  <p:tag name="MIO_DBID" val="12b0c59e-2253-4124-a5e9-470adf4cb168"/>
  <p:tag name="MIO_LASTDOWNLOADED" val="02.03.2020 12:52:59"/>
  <p:tag name="MIO_OBJECTNAME" val="Viewing History"/>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97a07a79-afab-4571-b5a2-7618ab2df160"/>
  <p:tag name="MIO_EKGUID" val="16f529d4-7a76-4662-8d43-bdd9762b53e2"/>
  <p:tag name="MIO_UPDATE" val="True"/>
  <p:tag name="MIO_VERSION" val="02.03.2020 12:26:38"/>
  <p:tag name="MIO_DBID" val="12b0c59e-2253-4124-a5e9-470adf4cb168"/>
  <p:tag name="MIO_LASTDOWNLOADED" val="02.03.2020 12:52:58"/>
  <p:tag name="MIO_OBJECTNAME" val="Logging into a Git Repository"/>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cd1a84bc-9937-4a28-b77d-d18027304a8d"/>
  <p:tag name="MIO_EKGUID" val="a3c39ff2-540d-40d1-a923-10ac0eca11a3"/>
  <p:tag name="MIO_UPDATE" val="True"/>
  <p:tag name="MIO_VERSION" val="02.03.2020 12:26:38"/>
  <p:tag name="MIO_DBID" val="12b0c59e-2253-4124-a5e9-470adf4cb168"/>
  <p:tag name="MIO_LASTDOWNLOADED" val="02.03.2020 12:52:59"/>
  <p:tag name="MIO_OBJECTNAME" val="Workspace / Staging Area"/>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1366395d-d52b-443b-b0d5-9eb2f6999f76"/>
  <p:tag name="MIO_EKGUID" val="4147e6a8-c625-490c-b005-873373eef196"/>
  <p:tag name="MIO_UPDATE" val="True"/>
  <p:tag name="MIO_VERSION" val="02.03.2020 12:26:39"/>
  <p:tag name="MIO_DBID" val="12b0c59e-2253-4124-a5e9-470adf4cb168"/>
  <p:tag name="MIO_LASTDOWNLOADED" val="02.03.2020 12:52:59"/>
  <p:tag name="MIO_OBJECTNAME" val="Viewing History"/>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1366395d-d52b-443b-b0d5-9eb2f6999f76"/>
  <p:tag name="MIO_EKGUID" val="4147e6a8-c625-490c-b005-873373eef196"/>
  <p:tag name="MIO_UPDATE" val="True"/>
  <p:tag name="MIO_VERSION" val="02.03.2020 12:26:39"/>
  <p:tag name="MIO_DBID" val="12b0c59e-2253-4124-a5e9-470adf4cb168"/>
  <p:tag name="MIO_LASTDOWNLOADED" val="02.03.2020 12:52:59"/>
  <p:tag name="MIO_OBJECTNAME" val="Viewing History"/>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1366395d-d52b-443b-b0d5-9eb2f6999f76"/>
  <p:tag name="MIO_EKGUID" val="4147e6a8-c625-490c-b005-873373eef196"/>
  <p:tag name="MIO_UPDATE" val="True"/>
  <p:tag name="MIO_VERSION" val="02.03.2020 12:26:39"/>
  <p:tag name="MIO_DBID" val="12b0c59e-2253-4124-a5e9-470adf4cb168"/>
  <p:tag name="MIO_LASTDOWNLOADED" val="02.03.2020 12:52:59"/>
  <p:tag name="MIO_OBJECTNAME" val="Viewing History"/>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faa98ae1-2291-4bef-bd19-33703a7fc314"/>
  <p:tag name="MIO_EKGUID" val="08ab2348-473f-4cb2-a62c-9ac7466f8d1d"/>
  <p:tag name="MIO_UPDATE" val="True"/>
  <p:tag name="MIO_VERSION" val="02.03.2020 12:26:38"/>
  <p:tag name="MIO_DBID" val="12b0c59e-2253-4124-a5e9-470adf4cb168"/>
  <p:tag name="MIO_LASTDOWNLOADED" val="02.03.2020 12:52:58"/>
  <p:tag name="MIO_OBJECTNAME" val="Git Setup"/>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97a07a79-afab-4571-b5a2-7618ab2df160"/>
  <p:tag name="MIO_EKGUID" val="16f529d4-7a76-4662-8d43-bdd9762b53e2"/>
  <p:tag name="MIO_UPDATE" val="True"/>
  <p:tag name="MIO_VERSION" val="02.03.2020 12:26:38"/>
  <p:tag name="MIO_DBID" val="12b0c59e-2253-4124-a5e9-470adf4cb168"/>
  <p:tag name="MIO_LASTDOWNLOADED" val="02.03.2020 12:52:58"/>
  <p:tag name="MIO_OBJECTNAME" val="Logging into a Git Repository"/>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c5580d1-ebb8-4a76-b83e-82dc3b2c8452"/>
  <p:tag name="MIO_EKGUID" val="7cf256ee-4db7-4b37-a8dd-03d761b716fa"/>
  <p:tag name="MIO_UPDATE" val="True"/>
  <p:tag name="MIO_VERSION" val="02.03.2020 12:26:10"/>
  <p:tag name="MIO_DBID" val="12b0c59e-2253-4124-a5e9-470adf4cb168"/>
  <p:tag name="MIO_LASTDOWNLOADED" val="02.03.2020 12:53:36"/>
  <p:tag name="MIO_OBJECTNAME" val="Branching – merging cont."/>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ec5580d1-ebb8-4a76-b83e-82dc3b2c8452"/>
  <p:tag name="MIO_EKGUID" val="7cf256ee-4db7-4b37-a8dd-03d761b716fa"/>
  <p:tag name="MIO_UPDATE" val="True"/>
  <p:tag name="MIO_VERSION" val="02.03.2020 12:26:10"/>
  <p:tag name="MIO_DBID" val="12b0c59e-2253-4124-a5e9-470adf4cb168"/>
  <p:tag name="MIO_LASTDOWNLOADED" val="02.03.2020 12:53:36"/>
  <p:tag name="MIO_OBJECTNAME" val="Branching – merging cont."/>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97a07a79-afab-4571-b5a2-7618ab2df160"/>
  <p:tag name="MIO_EKGUID" val="16f529d4-7a76-4662-8d43-bdd9762b53e2"/>
  <p:tag name="MIO_UPDATE" val="True"/>
  <p:tag name="MIO_VERSION" val="02.03.2020 12:26:38"/>
  <p:tag name="MIO_DBID" val="12b0c59e-2253-4124-a5e9-470adf4cb168"/>
  <p:tag name="MIO_LASTDOWNLOADED" val="02.03.2020 12:52:58"/>
  <p:tag name="MIO_OBJECTNAME" val="Logging into a Git Repository"/>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7:00"/>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08fd6eb7-ff9b-4261-bad0-6ca726c63bb7"/>
  <p:tag name="MIO_EKGUID" val="525c9767-42a6-4586-b504-7527644a7cd2"/>
  <p:tag name="MIO_UPDATE" val="True"/>
  <p:tag name="MIO_VERSION" val="09.10.2019 01:31:36"/>
  <p:tag name="MIO_DBID" val="12b0c59e-2253-4124-a5e9-470adf4cb168"/>
  <p:tag name="MIO_LASTDOWNLOADED" val="11.10.2019 20:16:50"/>
  <p:tag name="MIO_OBJECTNAME" val="Anatomy of Visual Studio Code"/>
  <p:tag name="MIO_LASTEDITORNAME" val="Mike O'Neil"/>
</p:tagLst>
</file>

<file path=ppt/tags/tag51.xml><?xml version="1.0" encoding="utf-8"?>
<p:tagLst xmlns:a="http://schemas.openxmlformats.org/drawingml/2006/main" xmlns:r="http://schemas.openxmlformats.org/officeDocument/2006/relationships" xmlns:p="http://schemas.openxmlformats.org/presentationml/2006/main">
  <p:tag name="MIO_GUID" val="08fd6eb7-ff9b-4261-bad0-6ca726c63bb7"/>
  <p:tag name="MIO_EKGUID" val="525c9767-42a6-4586-b504-7527644a7cd2"/>
  <p:tag name="MIO_UPDATE" val="True"/>
  <p:tag name="MIO_VERSION" val="09.10.2019 01:31:36"/>
  <p:tag name="MIO_DBID" val="12b0c59e-2253-4124-a5e9-470adf4cb168"/>
  <p:tag name="MIO_LASTDOWNLOADED" val="11.10.2019 20:16:50"/>
  <p:tag name="MIO_OBJECTNAME" val="Anatomy of Visual Studio Code"/>
  <p:tag name="MIO_LASTEDITORNAME" val="Mike O'Neil"/>
</p:tagLst>
</file>

<file path=ppt/tags/tag5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908193c-dd5f-47d3-a963-2ec6cd485858"/>
  <p:tag name="MIO_UPDATE" val="True"/>
  <p:tag name="MIO_VERSION" val="02.03.2020 12:26:11"/>
  <p:tag name="MIO_DBID" val="12b0c59e-2253-4124-a5e9-470adf4cb168"/>
  <p:tag name="MIO_LASTDOWNLOADED" val="02.03.2020 12:53:37"/>
  <p:tag name="MIO_OBJECTNAME" val="Git – Intermediate(30 minutes)"/>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VERSION" val="28.08.2019 14:31:22"/>
  <p:tag name="MIO_DBID" val="12B0C59E-2253-4124-A5E9-470ADF4CB168"/>
  <p:tag name="MIO_LASTDOWNLOADED" val="28.08.2019 16:32:58"/>
  <p:tag name="MIO_OBJECTNAME" val="Lab"/>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a1559c80-ee06-4546-b854-ff4b9ea9926b"/>
  <p:tag name="MIO_EKGUID" val="f482819b-8b34-4946-a2ab-40a924a4d5b4"/>
  <p:tag name="MIO_UPDATE" val="True"/>
  <p:tag name="MIO_VERSION" val="02.03.2020 12:26:40"/>
  <p:tag name="MIO_DBID" val="12b0c59e-2253-4124-a5e9-470adf4cb168"/>
  <p:tag name="MIO_LASTDOWNLOADED" val="02.03.2020 12:53:00"/>
  <p:tag name="MIO_OBJECTNAME" val="Slide 33"/>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f178a8ac-31a4-4946-8ca9-652cf6f10c20"/>
  <p:tag name="MIO_EKGUID" val="0fc23dc0-688a-46ef-842c-62bb0f964ebb"/>
  <p:tag name="MIO_UPDATE" val="True"/>
  <p:tag name="MIO_VERSION" val="02.03.2020 12:26:37"/>
  <p:tag name="MIO_DBID" val="12b0c59e-2253-4124-a5e9-470adf4cb168"/>
  <p:tag name="MIO_LASTDOWNLOADED" val="02.03.2020 12:52:57"/>
  <p:tag name="MIO_OBJECTNAME" val="Git – Introduction"/>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b6cca31-c5f4-414f-b654-eaf1c2af9196"/>
  <p:tag name="MIO_EKGUID" val="3c6fb971-6c4e-457f-919d-64f5a1b22eb3"/>
  <p:tag name="MIO_UPDATE" val="True"/>
  <p:tag name="MIO_VERSION" val="02.03.2020 12:26:37"/>
  <p:tag name="MIO_DBID" val="12b0c59e-2253-4124-a5e9-470adf4cb168"/>
  <p:tag name="MIO_LASTDOWNLOADED" val="02.03.2020 12:52:57"/>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f17cb3b3-92af-4df8-8637-7853efc5e887"/>
  <p:tag name="MIO_EKGUID" val="2ee40cb9-732a-4353-9ff0-df2449afe211"/>
  <p:tag name="MIO_UPDATE" val="True"/>
  <p:tag name="MIO_VERSION" val="02.03.2020 12:26:37"/>
  <p:tag name="MIO_DBID" val="12b0c59e-2253-4124-a5e9-470adf4cb168"/>
  <p:tag name="MIO_LASTDOWNLOADED" val="02.03.2020 12:52:57"/>
  <p:tag name="MIO_OBJECTNAME" val="Git setup"/>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81b419a8-7ebd-4371-9c7c-bd6c41851d1e"/>
  <p:tag name="MIO_EKGUID" val="051dc339-8482-4083-bb5c-621d9c9af4b2"/>
  <p:tag name="MIO_UPDATE" val="True"/>
  <p:tag name="MIO_VERSION" val="02.03.2020 12:26:38"/>
  <p:tag name="MIO_DBID" val="12b0c59e-2253-4124-a5e9-470adf4cb168"/>
  <p:tag name="MIO_LASTDOWNLOADED" val="02.03.2020 12:52:58"/>
  <p:tag name="MIO_OBJECTNAME" val="Source Control Management"/>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E75BEC-65C5-4AAF-92A7-D1804605612B}"/>
</file>

<file path=customXml/itemProps2.xml><?xml version="1.0" encoding="utf-8"?>
<ds:datastoreItem xmlns:ds="http://schemas.openxmlformats.org/officeDocument/2006/customXml" ds:itemID="{F990F116-B58F-4255-B05B-DA3808E0E5C6}">
  <ds:schemaRefs>
    <ds:schemaRef ds:uri="230e9df3-be65-4c73-a93b-d1236ebd677e"/>
    <ds:schemaRef ds:uri="cea7764e-6bf9-427d-be15-e74097e0a61c"/>
    <ds:schemaRef ds:uri="fb9ea31f-0ab8-44ff-80d1-5777f6d9d94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91</TotalTime>
  <Words>3238</Words>
  <Application>Microsoft Office PowerPoint</Application>
  <PresentationFormat>Widescreen</PresentationFormat>
  <Paragraphs>489</Paragraphs>
  <Slides>45</Slides>
  <Notes>43</Notes>
  <HiddenSlides>3</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45</vt:i4>
      </vt:variant>
    </vt:vector>
  </HeadingPairs>
  <TitlesOfParts>
    <vt:vector size="59" baseType="lpstr">
      <vt:lpstr>-apple-system</vt:lpstr>
      <vt:lpstr>Arial</vt:lpstr>
      <vt:lpstr>Calibri</vt:lpstr>
      <vt:lpstr>Calibri Light</vt:lpstr>
      <vt:lpstr>Comic Sans MS</vt:lpstr>
      <vt:lpstr>Consolas</vt:lpstr>
      <vt:lpstr>Lab Grotesque</vt:lpstr>
      <vt:lpstr>Lucida Console</vt:lpstr>
      <vt:lpstr>Museo-Sans</vt:lpstr>
      <vt:lpstr>Segoe UI</vt:lpstr>
      <vt:lpstr>Segoe UI Light</vt:lpstr>
      <vt:lpstr>Segoe UI Semibold</vt:lpstr>
      <vt:lpstr>Wingdings</vt:lpstr>
      <vt:lpstr>Light Grey</vt:lpstr>
      <vt:lpstr>Git</vt:lpstr>
      <vt:lpstr>PowerPoint Presentation</vt:lpstr>
      <vt:lpstr>Source Control</vt:lpstr>
      <vt:lpstr>Source Control</vt:lpstr>
      <vt:lpstr>DevOps Mindset</vt:lpstr>
      <vt:lpstr>PowerPoint Presentation</vt:lpstr>
      <vt:lpstr>Git vs. GitHub</vt:lpstr>
      <vt:lpstr>Git Basics</vt:lpstr>
      <vt:lpstr>Git Keywords - Basics</vt:lpstr>
      <vt:lpstr>Create Repository</vt:lpstr>
      <vt:lpstr>Git Process </vt:lpstr>
      <vt:lpstr>Adding Content to Staging Area</vt:lpstr>
      <vt:lpstr>Removing File From Staging Area</vt:lpstr>
      <vt:lpstr>Commits</vt:lpstr>
      <vt:lpstr>Committing Changes</vt:lpstr>
      <vt:lpstr>Common Options For Viewing History</vt:lpstr>
      <vt:lpstr>History With Git Log</vt:lpstr>
      <vt:lpstr>Git File History Extension</vt:lpstr>
      <vt:lpstr>PowerPoint Presentation</vt:lpstr>
      <vt:lpstr>Setting Up Git (30 minutes)</vt:lpstr>
      <vt:lpstr>Working with Remote Repositories</vt:lpstr>
      <vt:lpstr>Remote Repository Overview</vt:lpstr>
      <vt:lpstr>Git Process </vt:lpstr>
      <vt:lpstr>Push</vt:lpstr>
      <vt:lpstr>Pull</vt:lpstr>
      <vt:lpstr>Conflicts</vt:lpstr>
      <vt:lpstr>Creating A GitHub Repository</vt:lpstr>
      <vt:lpstr>Cloning Remote Repository</vt:lpstr>
      <vt:lpstr>Cloning a Repository From GitHub</vt:lpstr>
      <vt:lpstr>Branching and Merging</vt:lpstr>
      <vt:lpstr>Branching and Merging Overview</vt:lpstr>
      <vt:lpstr>Commands</vt:lpstr>
      <vt:lpstr>Branch Strategies</vt:lpstr>
      <vt:lpstr>Diagrams – Dev Branch</vt:lpstr>
      <vt:lpstr>Diagrams – Feature Branches</vt:lpstr>
      <vt:lpstr>Feature Flags </vt:lpstr>
      <vt:lpstr>Additional Git Commands</vt:lpstr>
      <vt:lpstr>Git with Visual Studio Code</vt:lpstr>
      <vt:lpstr>Visual Studio Code – Introduction </vt:lpstr>
      <vt:lpstr>Anatomy of Visual Studio Code</vt:lpstr>
      <vt:lpstr>Git With Visual Studio Code</vt:lpstr>
      <vt:lpstr>Popular Extensions</vt:lpstr>
      <vt:lpstr>Git (60 minutes)</vt:lpstr>
      <vt:lpstr>Working with Git (30 minute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1</revision>
  <dcterms:created xsi:type="dcterms:W3CDTF">2019-12-16T16:07:11.0000000Z</dcterms:created>
  <dcterms:modified xsi:type="dcterms:W3CDTF">2022-02-09T23:05:43.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6:10:56.2541824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b3b6dc2e-4089-4c6e-bcdb-947401663326</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1AFFBB813ED9B340817B8218D8AE0A88</vt:lpwstr>
  </op:property>
  <op:property fmtid="{D5CDD505-2E9C-101B-9397-08002B2CF9AE}" pid="12" name="MediaServiceImageTags">
    <vt:lpwstr/>
  </op:property>
</op:Properties>
</file>